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ink/ink1.xml" ContentType="application/inkml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4"/>
    <p:sldMasterId id="2147483650" r:id="rId5"/>
    <p:sldMasterId id="2147483951" r:id="rId6"/>
  </p:sldMasterIdLst>
  <p:notesMasterIdLst>
    <p:notesMasterId r:id="rId18"/>
  </p:notesMasterIdLst>
  <p:handoutMasterIdLst>
    <p:handoutMasterId r:id="rId19"/>
  </p:handoutMasterIdLst>
  <p:sldIdLst>
    <p:sldId id="256" r:id="rId7"/>
    <p:sldId id="257" r:id="rId8"/>
    <p:sldId id="3084" r:id="rId9"/>
    <p:sldId id="3083" r:id="rId10"/>
    <p:sldId id="3036" r:id="rId11"/>
    <p:sldId id="3085" r:id="rId12"/>
    <p:sldId id="258" r:id="rId13"/>
    <p:sldId id="261" r:id="rId14"/>
    <p:sldId id="3042" r:id="rId15"/>
    <p:sldId id="3086" r:id="rId16"/>
    <p:sldId id="275" r:id="rId17"/>
  </p:sldIdLst>
  <p:sldSz cx="12192000" cy="6858000"/>
  <p:notesSz cx="7104063" cy="10234613"/>
  <p:custDataLst>
    <p:tags r:id="rId20"/>
  </p:custDataLst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112DFBE-33DD-D9E1-E27F-D95B1AFBE415}" name="Guest User" initials="GU" userId="S::urn:spo:anon#36d7a98adbc02d977f1827bbcf005887be89cb68e947778fb3309941e733e07c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3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4FAC82-2DC0-48EE-8EFD-1BAE841524CE}" v="16" dt="2022-09-14T15:26:01.412"/>
  </p1510:revLst>
</p1510:revInfo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2125" autoAdjust="0"/>
  </p:normalViewPr>
  <p:slideViewPr>
    <p:cSldViewPr snapToGrid="0">
      <p:cViewPr>
        <p:scale>
          <a:sx n="68" d="100"/>
          <a:sy n="68" d="100"/>
        </p:scale>
        <p:origin x="436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ma Mondlane" userId="4a6752b2-9863-4f74-9fa9-2a59825d29d2" providerId="ADAL" clId="{494FAC82-2DC0-48EE-8EFD-1BAE841524CE}"/>
    <pc:docChg chg="undo custSel addSld modSld">
      <pc:chgData name="Wilma Mondlane" userId="4a6752b2-9863-4f74-9fa9-2a59825d29d2" providerId="ADAL" clId="{494FAC82-2DC0-48EE-8EFD-1BAE841524CE}" dt="2022-09-14T15:27:06.321" v="191" actId="1076"/>
      <pc:docMkLst>
        <pc:docMk/>
      </pc:docMkLst>
      <pc:sldChg chg="addSp modSp">
        <pc:chgData name="Wilma Mondlane" userId="4a6752b2-9863-4f74-9fa9-2a59825d29d2" providerId="ADAL" clId="{494FAC82-2DC0-48EE-8EFD-1BAE841524CE}" dt="2022-09-14T15:17:42.547" v="49"/>
        <pc:sldMkLst>
          <pc:docMk/>
          <pc:sldMk cId="3466623445" sldId="261"/>
        </pc:sldMkLst>
        <pc:spChg chg="add mod">
          <ac:chgData name="Wilma Mondlane" userId="4a6752b2-9863-4f74-9fa9-2a59825d29d2" providerId="ADAL" clId="{494FAC82-2DC0-48EE-8EFD-1BAE841524CE}" dt="2022-09-14T15:17:42.547" v="49"/>
          <ac:spMkLst>
            <pc:docMk/>
            <pc:sldMk cId="3466623445" sldId="261"/>
            <ac:spMk id="23" creationId="{164D2D69-CBF7-406B-9429-0396DAD986A0}"/>
          </ac:spMkLst>
        </pc:spChg>
        <pc:picChg chg="add mod">
          <ac:chgData name="Wilma Mondlane" userId="4a6752b2-9863-4f74-9fa9-2a59825d29d2" providerId="ADAL" clId="{494FAC82-2DC0-48EE-8EFD-1BAE841524CE}" dt="2022-09-14T15:17:42.547" v="49"/>
          <ac:picMkLst>
            <pc:docMk/>
            <pc:sldMk cId="3466623445" sldId="261"/>
            <ac:picMk id="22" creationId="{BFC08B87-4066-4F91-9340-103A04F1A772}"/>
          </ac:picMkLst>
        </pc:picChg>
      </pc:sldChg>
      <pc:sldChg chg="addSp modSp">
        <pc:chgData name="Wilma Mondlane" userId="4a6752b2-9863-4f74-9fa9-2a59825d29d2" providerId="ADAL" clId="{494FAC82-2DC0-48EE-8EFD-1BAE841524CE}" dt="2022-09-14T15:18:04.813" v="51"/>
        <pc:sldMkLst>
          <pc:docMk/>
          <pc:sldMk cId="1918987207" sldId="3036"/>
        </pc:sldMkLst>
        <pc:spChg chg="add mod">
          <ac:chgData name="Wilma Mondlane" userId="4a6752b2-9863-4f74-9fa9-2a59825d29d2" providerId="ADAL" clId="{494FAC82-2DC0-48EE-8EFD-1BAE841524CE}" dt="2022-09-14T15:18:04.813" v="51"/>
          <ac:spMkLst>
            <pc:docMk/>
            <pc:sldMk cId="1918987207" sldId="3036"/>
            <ac:spMk id="34" creationId="{47963FFA-32D6-42CE-AFAA-07E931D20E5A}"/>
          </ac:spMkLst>
        </pc:spChg>
        <pc:picChg chg="add mod">
          <ac:chgData name="Wilma Mondlane" userId="4a6752b2-9863-4f74-9fa9-2a59825d29d2" providerId="ADAL" clId="{494FAC82-2DC0-48EE-8EFD-1BAE841524CE}" dt="2022-09-14T15:18:04.813" v="51"/>
          <ac:picMkLst>
            <pc:docMk/>
            <pc:sldMk cId="1918987207" sldId="3036"/>
            <ac:picMk id="31" creationId="{6F6C41E7-CAE4-4B87-AEF8-7A14B4846AB6}"/>
          </ac:picMkLst>
        </pc:picChg>
      </pc:sldChg>
      <pc:sldChg chg="addSp delSp modSp mod">
        <pc:chgData name="Wilma Mondlane" userId="4a6752b2-9863-4f74-9fa9-2a59825d29d2" providerId="ADAL" clId="{494FAC82-2DC0-48EE-8EFD-1BAE841524CE}" dt="2022-09-14T15:20:44.195" v="124" actId="1076"/>
        <pc:sldMkLst>
          <pc:docMk/>
          <pc:sldMk cId="114657363" sldId="3083"/>
        </pc:sldMkLst>
        <pc:spChg chg="mod">
          <ac:chgData name="Wilma Mondlane" userId="4a6752b2-9863-4f74-9fa9-2a59825d29d2" providerId="ADAL" clId="{494FAC82-2DC0-48EE-8EFD-1BAE841524CE}" dt="2022-09-14T15:20:44.195" v="124" actId="1076"/>
          <ac:spMkLst>
            <pc:docMk/>
            <pc:sldMk cId="114657363" sldId="3083"/>
            <ac:spMk id="2" creationId="{00000000-0000-0000-0000-000000000000}"/>
          </ac:spMkLst>
        </pc:spChg>
        <pc:spChg chg="mod">
          <ac:chgData name="Wilma Mondlane" userId="4a6752b2-9863-4f74-9fa9-2a59825d29d2" providerId="ADAL" clId="{494FAC82-2DC0-48EE-8EFD-1BAE841524CE}" dt="2022-09-14T15:20:28.473" v="120" actId="1076"/>
          <ac:spMkLst>
            <pc:docMk/>
            <pc:sldMk cId="114657363" sldId="3083"/>
            <ac:spMk id="234" creationId="{12CE93E1-3D63-4153-B911-169016BC1ECB}"/>
          </ac:spMkLst>
        </pc:spChg>
        <pc:spChg chg="add del mod">
          <ac:chgData name="Wilma Mondlane" userId="4a6752b2-9863-4f74-9fa9-2a59825d29d2" providerId="ADAL" clId="{494FAC82-2DC0-48EE-8EFD-1BAE841524CE}" dt="2022-09-14T15:18:28.029" v="53"/>
          <ac:spMkLst>
            <pc:docMk/>
            <pc:sldMk cId="114657363" sldId="3083"/>
            <ac:spMk id="241" creationId="{FED91BAE-22BC-4F4C-9BFC-7C704B0DFF08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49" creationId="{20131193-1A9C-4474-818A-EF31CE690C2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0" creationId="{B2772B94-9FF7-4253-AC8D-16DA7F8A522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2" creationId="{C4DC8B11-FE2E-4E8F-970B-6614BA1DEAE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3" creationId="{0ABA6495-9D91-404C-A4C5-1C596985427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4" creationId="{06519B33-A93F-47D5-A077-158975EACBE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5" creationId="{509B9CD2-501B-4F32-912A-DF82CBE4DFE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6" creationId="{4781D086-34C8-490F-A0B3-8B071C9A9C5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298" creationId="{237EC831-AD0E-43A1-B899-F7910975DB4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17" creationId="{0045029E-6CF9-46A5-934E-138E97D49309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53" creationId="{2972D770-2339-468C-BC9A-07F41C6DB7D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54" creationId="{9621E50B-5384-4258-B6CC-EC02E832B116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56" creationId="{1F2B43FD-8C3C-4B3C-9E17-E6AFC5FDA34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57" creationId="{58519C1A-BE79-454B-8FDB-658A8A6D9A0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64" creationId="{C8482297-5BC8-44FD-A6BF-D7D6E3C874A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65" creationId="{5C0334FA-CB95-4652-B10A-45F6FF02301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0" creationId="{95FAE597-F395-4AE6-A293-B5324096A8F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1" creationId="{CEF05F5F-DA54-4B2F-AF99-0BC07709B65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2" creationId="{435E1BBD-87A6-49B3-AD53-0C188A7855C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6" creationId="{BA58D6E4-3034-4B87-92B8-144C7F357D4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7" creationId="{69C5C972-B01D-4A60-9611-4CD9333DAA9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8" creationId="{1481E8FD-502B-481E-8126-55821BE66556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79" creationId="{6F16B5CD-93FE-4780-A44A-D1DAE312CA0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81" creationId="{8DE2FE00-6760-4BC7-9A0B-4FFCCC9CEDC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83" creationId="{7050577E-B468-440F-A3E0-A7780DD97F0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84" creationId="{DE9C9E85-C264-4DB0-90A4-A652A31B98A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90" creationId="{5DBCD9B5-4F16-4952-8DE1-BE76FAF81698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91" creationId="{645EB33D-E6B2-4469-B931-3EDE378D00A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92" creationId="{E6F41B79-2314-4269-87D7-96C3C7DB576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96" creationId="{979D7A86-10B7-4076-825E-7C6B852C79E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397" creationId="{9270DCF6-DAF3-4A32-BF7F-2BCCC819309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0" creationId="{02F07F5F-D36F-41E8-A914-F6D3E5AD33B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1" creationId="{D278AD98-80E1-4E7C-B733-D8BF58FF6039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4" creationId="{F3593ACF-D52F-471A-A3C6-4421854F154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5" creationId="{B14C6B3D-22AD-4563-8D4E-A55FC77DA62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6" creationId="{6E5D0E23-9A15-4A58-B728-0BD28FD39CA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7" creationId="{46DCB5A8-4A4D-4A72-B90E-E3D05AF9E45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08" creationId="{A8D79501-BCCE-49D1-B592-34A9CF85EFA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12" creationId="{F8BF1FF6-0AE2-4BE6-831D-A41CB3CF885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13" creationId="{6255D2F3-E62D-490B-8130-305B342EABD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14" creationId="{7E614FCD-6C7C-4BB2-B4C4-3E5BD23C1DE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16" creationId="{284CA3E1-B536-42BA-BA71-4FBAA9AD8E9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17" creationId="{1AB94072-1DF0-4626-A221-E4945C9D925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0" creationId="{70A8CF0A-B6CB-4CF0-AF75-CA8269C7FAC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1" creationId="{3B9C0B92-D3C1-469F-B4E5-E10E9B0C41B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2" creationId="{AC6C9460-76CB-4923-B1F7-4F91DF04FA3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3" creationId="{7ED1E1ED-6C3A-458E-8F28-A8538059484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4" creationId="{31366EE7-B231-47E2-A080-047202117B5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6" creationId="{593016DA-5E68-4CC6-8CA8-530FEE8C409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7" creationId="{688E9B33-6D4E-47EF-B17A-DBDC3EC72CE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8" creationId="{16948474-58AA-47D7-B473-8C7A701A2C3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29" creationId="{279B8735-61A6-43B4-8D79-1E8A50AFAFC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0" creationId="{79CFB348-CF69-49DF-9F66-44B3BF7C8F3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1" creationId="{6CF309E6-810B-4CF1-AAFE-40BDD40806A1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2" creationId="{EB1DAE1E-47D3-4382-AC63-359AB4D1968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3" creationId="{67CBBC5E-6F27-44E6-9BBC-2A6A99FF968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4" creationId="{1DF7E9DA-D79D-4C62-9B04-E0526840A37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5" creationId="{494BF5DB-925D-4457-B87C-FCA160881BD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6" creationId="{C5C2FCE9-219A-42C9-947A-8CCEC816F98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7" creationId="{3F036667-BA63-441F-830B-251252D806C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8" creationId="{460E8E4C-E8F5-465C-87C9-2A2F76064C0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39" creationId="{88EE2081-3F61-4000-B938-B46486D5C8F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0" creationId="{CE6FF2F6-0264-41EE-AA83-E66CB158721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1" creationId="{3E7F281C-7180-4F99-9E53-6E0C102FB83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2" creationId="{EA60B12F-1905-40B1-8729-F698CD5EFF98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3" creationId="{C8181A93-1E37-4812-B04B-CED48A01AFF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4" creationId="{D7894CEE-48F6-43DB-8783-CFC2151A847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5" creationId="{9916BBCA-C1D0-4C4E-BE9C-8C59B052112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6" creationId="{6A63658A-0773-45D8-BC64-86A48C0E0EF8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7" creationId="{6E4D4F39-1CF9-414E-BDA1-EB27CB49C42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8" creationId="{E4BCAB4F-B8C6-49FF-8F98-2241BAFF905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49" creationId="{19702969-D40E-4149-99CB-57C7E614A21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0" creationId="{14E1DA70-0981-4392-A764-86B9B377684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1" creationId="{90FCE637-AF5B-477F-923C-1536C1BEBB2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2" creationId="{A6545DB6-57F0-406F-9BC2-433D304AAFA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3" creationId="{2C2432F2-778D-4468-8167-677BFECA7F5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4" creationId="{5F0E5A3C-D2DA-4F55-950E-DFE195B3C87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5" creationId="{0A1E3DAD-E31D-4666-8215-0A0E1EF99F3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6" creationId="{3FD59D24-9D27-4B9D-8404-CB638186E47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7" creationId="{7C114924-5A90-4168-835D-A09ACBF56FC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8" creationId="{3458B1FA-50DB-444F-A79A-4B0C6879514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59" creationId="{DD7542CC-AEE6-4379-926E-070C0419792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0" creationId="{6E9D7022-9790-4DBE-A638-14548C7931F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1" creationId="{06F5C1E1-B719-4C5E-BCA2-00E3ADC570E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2" creationId="{210E6895-EF5D-4003-AB55-01FDBB2FBBE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3" creationId="{FD38BE34-5034-4B51-B6B9-E3A00DB9B24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4" creationId="{C9B6D200-74DF-4EF6-AF33-6E79018D2A9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7" creationId="{D8B34681-1525-43A5-9F93-16EA3274D05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68" creationId="{7B2F2C0F-54CB-49F1-B564-0828016ACA2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82" creationId="{70061258-470F-4B7D-BE42-DAC8D9F58A6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84" creationId="{FE7171CB-268F-4075-82BD-B4EE7FB0A0B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87" creationId="{9C0C27A4-195E-47FD-BD01-4C43461D3878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89" creationId="{CC00D1DC-BE71-45BB-8255-D371ADD1AD5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90" creationId="{BDEB193F-BB45-403C-A3C0-9DC8E8EE24A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91" creationId="{7AC22772-3FEF-48B1-BE9E-4A91ECF4ABD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93" creationId="{0189DF8A-A67E-4234-ADAF-9D825C0B0A7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95" creationId="{BAF5BD95-7F92-45EE-A289-1855232686B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497" creationId="{789F3BB0-4983-4D30-A170-379B65ED26D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05" creationId="{9C590814-3C4A-4A8F-B043-97513CB9B61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06" creationId="{F5AE916B-2E7E-4EE5-BCF2-4753BDCABB3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10" creationId="{5B4383F3-63C4-4647-B480-AE613C3756D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11" creationId="{B4A3C520-028A-46C1-A86B-A057589A4CF4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13" creationId="{D06FD72F-418D-4CCD-AE37-C455A0EA1A2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18" creationId="{CCACFCEA-4B7C-4774-B016-2CC0C8AC39A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19" creationId="{775A2B0B-F7D2-464D-8A0F-606A2457302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20" creationId="{F8396551-B458-4010-847B-38E3EDA93F7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21" creationId="{18870504-DB7F-40A2-B9AA-90525BC5C3D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24" creationId="{AE3E1AF1-7146-45F7-B52D-4D6790E20DD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26" creationId="{D0CE1651-0119-422C-8DA3-19D25CA97A39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28" creationId="{C983966A-E158-4490-8BE0-DDD6AAE8ECE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29" creationId="{ECC0ABCF-1447-4E07-8188-5CDCC20B0D79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0" creationId="{4237EA0C-2D65-4BA2-AF3C-50CC211BD7C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1" creationId="{2BAA3425-F78A-4A90-BB3A-341DC9D3D845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2" creationId="{0E69DDBC-836D-475A-91C1-472FF431210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3" creationId="{E66CAB59-7587-4FFB-92AD-1F296074EA9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4" creationId="{42C5B261-EC18-4194-8ECB-A2D4EBC7174D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5" creationId="{F55065FE-5FBC-4938-894C-678D6280648B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6" creationId="{F566C973-9769-4366-8A22-A3847F804A12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7" creationId="{8540DEBF-92AB-4420-9299-DD76B0A8A6D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8" creationId="{015CCC08-B0AB-4B46-8E1C-7AE777213FC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39" creationId="{387376F0-4D88-46DA-9F4B-881AFB06CCF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43" creationId="{9B77DEB0-FBC1-4525-8531-AA79CA95E5D6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44" creationId="{6DF216A1-D321-4CF2-B7CB-AD396FD20A61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48" creationId="{5110A890-266E-4388-94FC-27EB328A307E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49" creationId="{61323034-7DEB-4482-AD31-A1AB9E3E88AC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0" creationId="{B9DE1542-B173-41D2-BFCD-A34EF37EA077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1" creationId="{DA541FCF-4F3D-47C2-A77D-63B698DC2DF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2" creationId="{272A05FA-E1B7-47A2-8E6E-DA748F5F811A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3" creationId="{E2353B98-56EA-4175-BEC4-544843E90CC0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4" creationId="{13DF10B3-B3D1-4BAC-9B73-0C64461F71D1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6" creationId="{D3ECA865-09A3-4D7D-BE97-C0DEB87B34F3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8" creationId="{01D519FA-015D-4BB0-A68D-E4A09ABD40AF}"/>
          </ac:spMkLst>
        </pc:spChg>
        <pc:spChg chg="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59" creationId="{207FA86D-0A7F-48BD-9F62-F407C74896B1}"/>
          </ac:spMkLst>
        </pc:spChg>
        <pc:spChg chg="add 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68" creationId="{9AAAB94D-D002-4978-BEAE-1824CCF35C76}"/>
          </ac:spMkLst>
        </pc:spChg>
        <pc:spChg chg="add 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69" creationId="{FD032C06-A930-46BA-B788-05F9128F673C}"/>
          </ac:spMkLst>
        </pc:spChg>
        <pc:spChg chg="add mod">
          <ac:chgData name="Wilma Mondlane" userId="4a6752b2-9863-4f74-9fa9-2a59825d29d2" providerId="ADAL" clId="{494FAC82-2DC0-48EE-8EFD-1BAE841524CE}" dt="2022-09-14T15:20:22.929" v="119" actId="571"/>
          <ac:spMkLst>
            <pc:docMk/>
            <pc:sldMk cId="114657363" sldId="3083"/>
            <ac:spMk id="570" creationId="{75027F6D-430F-4977-A86C-E3ADB9C2A974}"/>
          </ac:spMkLst>
        </pc:spChg>
        <pc:grpChg chg="mod">
          <ac:chgData name="Wilma Mondlane" userId="4a6752b2-9863-4f74-9fa9-2a59825d29d2" providerId="ADAL" clId="{494FAC82-2DC0-48EE-8EFD-1BAE841524CE}" dt="2022-09-14T15:20:31.939" v="123" actId="1036"/>
          <ac:grpSpMkLst>
            <pc:docMk/>
            <pc:sldMk cId="114657363" sldId="3083"/>
            <ac:grpSpMk id="59" creationId="{2AA31955-84AE-4F42-9A74-B56D731F4169}"/>
          </ac:grpSpMkLst>
        </pc:grpChg>
        <pc:grpChg chg="add 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42" creationId="{7BDC153D-0504-4B05-B9C7-8C84A78C22CE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43" creationId="{766D49AA-A8B2-40AA-AC96-87181BF2591A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44" creationId="{AB628A1C-6D83-4748-BB01-64D8FD5E5C8F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45" creationId="{245EBFED-1F40-4279-BDD4-6F4D8BEC0B0B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46" creationId="{AABDD87B-F2A2-4210-9B42-2C8697BF96AC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47" creationId="{A3A38AEB-50FE-4E5B-A6D8-9064D1092D4C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51" creationId="{34B8EE53-68DD-413F-8F67-78DBD669B795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252" creationId="{154910AE-8A6B-4DCE-BFDA-1957B074C76B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361" creationId="{5972A9BA-DD3D-41B7-B6EA-E42CA515EADF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366" creationId="{82949011-444D-4BBF-A34E-564CA1203915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368" creationId="{D58177A4-6459-4682-8E62-9DDC634B58A6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385" creationId="{5E266615-4652-4463-A9DB-3C8963E9F7A5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398" creationId="{3163C88F-6591-4829-B27B-0437C2F5F00C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403" creationId="{231A7B38-44D3-41CB-86EC-BADFB7A17D4B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410" creationId="{1D8963B2-091B-463B-B795-596BFB678A39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418" creationId="{FEFCC4AB-A433-4C94-A1D1-20478D1E5C4F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522" creationId="{0BB3771B-7197-418F-B040-B8ECDDC24596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523" creationId="{7E28ED0D-B050-4F8F-86F9-B72311F6DA6E}"/>
          </ac:grpSpMkLst>
        </pc:grpChg>
        <pc:grpChg chg="mod">
          <ac:chgData name="Wilma Mondlane" userId="4a6752b2-9863-4f74-9fa9-2a59825d29d2" providerId="ADAL" clId="{494FAC82-2DC0-48EE-8EFD-1BAE841524CE}" dt="2022-09-14T15:20:22.929" v="119" actId="571"/>
          <ac:grpSpMkLst>
            <pc:docMk/>
            <pc:sldMk cId="114657363" sldId="3083"/>
            <ac:grpSpMk id="525" creationId="{FF62ED3C-40FF-4AA4-9CBA-BCFF63739FAE}"/>
          </ac:grpSpMkLst>
        </pc:grpChg>
        <pc:picChg chg="add del mod">
          <ac:chgData name="Wilma Mondlane" userId="4a6752b2-9863-4f74-9fa9-2a59825d29d2" providerId="ADAL" clId="{494FAC82-2DC0-48EE-8EFD-1BAE841524CE}" dt="2022-09-14T15:18:28.029" v="53"/>
          <ac:picMkLst>
            <pc:docMk/>
            <pc:sldMk cId="114657363" sldId="3083"/>
            <ac:picMk id="240" creationId="{3E52F140-4664-46CA-A92A-0363B558400B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250" creationId="{8C16B2A0-F99A-4841-8105-21BF0BEE5F6D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277" creationId="{927AE67E-F232-4357-9FDE-773E4B71D35B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297" creationId="{3786BA88-4B2A-41BD-A94F-DE6163D8C0D8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18" creationId="{3AE85845-62DE-43F8-A157-BAB81A490BF4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21" creationId="{722ED86B-6C8B-4FAA-A200-3FD67E8D17BE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59" creationId="{5A7AAC51-84B7-4C68-A4A0-DDDDB4C471D7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60" creationId="{44554C6B-AD49-4D47-97BF-98DF115783FB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69" creationId="{27001549-866E-4FBA-9974-AD0C9CADECC4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73" creationId="{E8D1B6EA-7C80-4E90-9ECC-10A19E5581A6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80" creationId="{2451E431-95A9-4083-9EBE-C587AF75975B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82" creationId="{C7B697D1-2CCB-4FA4-8248-89D93E8AA6BD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94" creationId="{04CF9034-4ACA-43A4-BA3C-3B03ADFBA50C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399" creationId="{8B08C635-C212-4C45-BF0D-05212DC0599B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402" creationId="{23D1B107-F51B-4852-9736-96B3C4421FC1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411" creationId="{DE73EA6B-A677-41C9-91E2-EB862D91C27B}"/>
          </ac:picMkLst>
        </pc:picChg>
        <pc:picChg chg="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419" creationId="{EA204357-7094-4905-9BF7-91BCAF111D15}"/>
          </ac:picMkLst>
        </pc:picChg>
        <pc:picChg chg="add mod">
          <ac:chgData name="Wilma Mondlane" userId="4a6752b2-9863-4f74-9fa9-2a59825d29d2" providerId="ADAL" clId="{494FAC82-2DC0-48EE-8EFD-1BAE841524CE}" dt="2022-09-14T15:20:22.929" v="119" actId="571"/>
          <ac:picMkLst>
            <pc:docMk/>
            <pc:sldMk cId="114657363" sldId="3083"/>
            <ac:picMk id="571" creationId="{7C52EBDA-F769-4767-A2BB-23A4811953C2}"/>
          </ac:picMkLst>
        </pc:picChg>
        <pc:cxnChg chg="mod">
          <ac:chgData name="Wilma Mondlane" userId="4a6752b2-9863-4f74-9fa9-2a59825d29d2" providerId="ADAL" clId="{494FAC82-2DC0-48EE-8EFD-1BAE841524CE}" dt="2022-09-14T15:20:31.939" v="123" actId="1036"/>
          <ac:cxnSpMkLst>
            <pc:docMk/>
            <pc:sldMk cId="114657363" sldId="3083"/>
            <ac:cxnSpMk id="217" creationId="{865B57D8-4E14-4FE2-9B71-4413CE4CE6D0}"/>
          </ac:cxnSpMkLst>
        </pc:cxnChg>
        <pc:cxnChg chg="mod">
          <ac:chgData name="Wilma Mondlane" userId="4a6752b2-9863-4f74-9fa9-2a59825d29d2" providerId="ADAL" clId="{494FAC82-2DC0-48EE-8EFD-1BAE841524CE}" dt="2022-09-14T15:20:31.939" v="123" actId="1036"/>
          <ac:cxnSpMkLst>
            <pc:docMk/>
            <pc:sldMk cId="114657363" sldId="3083"/>
            <ac:cxnSpMk id="228" creationId="{644F193F-C7D4-4855-B237-E4BE678E580E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248" creationId="{54CB540F-11CB-4BD0-896B-25C785838A53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278" creationId="{A3CCBB9A-AC20-473A-AE07-40E65B184B93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291" creationId="{3B000711-BE23-425F-99A2-D2AB3075AB59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20" creationId="{39D937E5-6838-4B28-ABF4-155AF030837D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52" creationId="{010D7B99-1D78-40CD-8638-A2032AA3CC00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55" creationId="{791B969C-1F34-4EF6-9863-820F9005406D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58" creationId="{05802591-848F-44B5-B984-9D92EB785410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62" creationId="{9D8BCB4B-2CC7-4D1C-A523-853E632A3DFC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63" creationId="{76894CF5-13F8-4520-B78B-8E03E7E00DF8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67" creationId="{5A567152-514A-4CCD-A414-B4BCAAA9101F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74" creationId="{3AE2D7DE-03D0-4E75-8E86-5E7C25EC433A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75" creationId="{29768066-5381-4415-AD95-2F4C811E503B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86" creationId="{2CB5743E-55EA-4CB1-948D-F805642D62ED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87" creationId="{76FD5E99-669B-4E90-97F6-831867988659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88" creationId="{1955F7DD-764B-42AC-B40C-E2C9EC2B9F45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89" creationId="{24DF12CB-148F-4A2D-9AA4-EAF32CFC737B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93" creationId="{B6A4AEE0-7744-4752-9754-4A3F26F37F82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395" creationId="{E113D7F6-C60B-4835-869D-8C0F5D461EBF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409" creationId="{9712ABD5-8D82-4D11-9691-0F14E95FCA15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415" creationId="{67E0E080-1122-493A-B3D6-1D8F0033BE96}"/>
          </ac:cxnSpMkLst>
        </pc:cxnChg>
        <pc:cxnChg chg="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425" creationId="{4DB0F33B-B475-41CD-9D95-F51330A618FE}"/>
          </ac:cxnSpMkLst>
        </pc:cxnChg>
        <pc:cxnChg chg="add mod">
          <ac:chgData name="Wilma Mondlane" userId="4a6752b2-9863-4f74-9fa9-2a59825d29d2" providerId="ADAL" clId="{494FAC82-2DC0-48EE-8EFD-1BAE841524CE}" dt="2022-09-14T15:20:22.929" v="119" actId="571"/>
          <ac:cxnSpMkLst>
            <pc:docMk/>
            <pc:sldMk cId="114657363" sldId="3083"/>
            <ac:cxnSpMk id="572" creationId="{DF949C1E-FE93-4A43-ABFA-1829AC83D83D}"/>
          </ac:cxnSpMkLst>
        </pc:cxnChg>
      </pc:sldChg>
      <pc:sldChg chg="modSp mod">
        <pc:chgData name="Wilma Mondlane" userId="4a6752b2-9863-4f74-9fa9-2a59825d29d2" providerId="ADAL" clId="{494FAC82-2DC0-48EE-8EFD-1BAE841524CE}" dt="2022-09-14T15:00:51.640" v="47" actId="20577"/>
        <pc:sldMkLst>
          <pc:docMk/>
          <pc:sldMk cId="1792268768" sldId="3084"/>
        </pc:sldMkLst>
        <pc:spChg chg="mod">
          <ac:chgData name="Wilma Mondlane" userId="4a6752b2-9863-4f74-9fa9-2a59825d29d2" providerId="ADAL" clId="{494FAC82-2DC0-48EE-8EFD-1BAE841524CE}" dt="2022-09-14T15:00:51.640" v="47" actId="20577"/>
          <ac:spMkLst>
            <pc:docMk/>
            <pc:sldMk cId="1792268768" sldId="3084"/>
            <ac:spMk id="3" creationId="{3C784A67-CE13-437A-BB87-51D17A9D420F}"/>
          </ac:spMkLst>
        </pc:spChg>
      </pc:sldChg>
      <pc:sldChg chg="addSp modSp">
        <pc:chgData name="Wilma Mondlane" userId="4a6752b2-9863-4f74-9fa9-2a59825d29d2" providerId="ADAL" clId="{494FAC82-2DC0-48EE-8EFD-1BAE841524CE}" dt="2022-09-14T15:17:50.635" v="50"/>
        <pc:sldMkLst>
          <pc:docMk/>
          <pc:sldMk cId="2234434174" sldId="3085"/>
        </pc:sldMkLst>
        <pc:spChg chg="add mod">
          <ac:chgData name="Wilma Mondlane" userId="4a6752b2-9863-4f74-9fa9-2a59825d29d2" providerId="ADAL" clId="{494FAC82-2DC0-48EE-8EFD-1BAE841524CE}" dt="2022-09-14T15:17:50.635" v="50"/>
          <ac:spMkLst>
            <pc:docMk/>
            <pc:sldMk cId="2234434174" sldId="3085"/>
            <ac:spMk id="34" creationId="{4EA60A3F-F07A-496E-9126-F7136B98C05A}"/>
          </ac:spMkLst>
        </pc:spChg>
        <pc:picChg chg="add mod">
          <ac:chgData name="Wilma Mondlane" userId="4a6752b2-9863-4f74-9fa9-2a59825d29d2" providerId="ADAL" clId="{494FAC82-2DC0-48EE-8EFD-1BAE841524CE}" dt="2022-09-14T15:17:50.635" v="50"/>
          <ac:picMkLst>
            <pc:docMk/>
            <pc:sldMk cId="2234434174" sldId="3085"/>
            <ac:picMk id="31" creationId="{553A6304-9136-4CBC-903F-B535DD201A4F}"/>
          </ac:picMkLst>
        </pc:picChg>
      </pc:sldChg>
      <pc:sldChg chg="addSp delSp modSp new mod">
        <pc:chgData name="Wilma Mondlane" userId="4a6752b2-9863-4f74-9fa9-2a59825d29d2" providerId="ADAL" clId="{494FAC82-2DC0-48EE-8EFD-1BAE841524CE}" dt="2022-09-14T15:27:06.321" v="191" actId="1076"/>
        <pc:sldMkLst>
          <pc:docMk/>
          <pc:sldMk cId="216558877" sldId="3086"/>
        </pc:sldMkLst>
        <pc:spChg chg="del mod">
          <ac:chgData name="Wilma Mondlane" userId="4a6752b2-9863-4f74-9fa9-2a59825d29d2" providerId="ADAL" clId="{494FAC82-2DC0-48EE-8EFD-1BAE841524CE}" dt="2022-09-14T15:23:03.479" v="128" actId="478"/>
          <ac:spMkLst>
            <pc:docMk/>
            <pc:sldMk cId="216558877" sldId="3086"/>
            <ac:spMk id="2" creationId="{8111E9BC-83D3-4C56-B569-2D6F87516760}"/>
          </ac:spMkLst>
        </pc:spChg>
        <pc:spChg chg="del">
          <ac:chgData name="Wilma Mondlane" userId="4a6752b2-9863-4f74-9fa9-2a59825d29d2" providerId="ADAL" clId="{494FAC82-2DC0-48EE-8EFD-1BAE841524CE}" dt="2022-09-14T15:23:00.994" v="126" actId="478"/>
          <ac:spMkLst>
            <pc:docMk/>
            <pc:sldMk cId="216558877" sldId="3086"/>
            <ac:spMk id="3" creationId="{5DE308A7-F712-45F6-8CEB-09CA657C6934}"/>
          </ac:spMkLst>
        </pc:spChg>
        <pc:spChg chg="add mod">
          <ac:chgData name="Wilma Mondlane" userId="4a6752b2-9863-4f74-9fa9-2a59825d29d2" providerId="ADAL" clId="{494FAC82-2DC0-48EE-8EFD-1BAE841524CE}" dt="2022-09-14T15:27:06.321" v="191" actId="1076"/>
          <ac:spMkLst>
            <pc:docMk/>
            <pc:sldMk cId="216558877" sldId="3086"/>
            <ac:spMk id="6" creationId="{1F632CB7-E79C-44F7-8FE1-6BE833FF73A4}"/>
          </ac:spMkLst>
        </pc:spChg>
        <pc:picChg chg="add mod modCrop">
          <ac:chgData name="Wilma Mondlane" userId="4a6752b2-9863-4f74-9fa9-2a59825d29d2" providerId="ADAL" clId="{494FAC82-2DC0-48EE-8EFD-1BAE841524CE}" dt="2022-09-14T15:23:48.277" v="133" actId="18131"/>
          <ac:picMkLst>
            <pc:docMk/>
            <pc:sldMk cId="216558877" sldId="3086"/>
            <ac:picMk id="5" creationId="{18DD7E33-CC0F-4BAE-816B-F7F1B02B171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CBAB78-FA25-495B-986E-4F3F8C0D9B8E}" type="datetimeFigureOut">
              <a:rPr lang="en-US" smtClean="0"/>
              <a:t>9/1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CENTRAL TÉRMICA DE TEMA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EF2AFD-DD0E-4EFD-B1D0-955187387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36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4-27T09:03:51.805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8503" cy="513540"/>
          </a:xfrm>
          <a:prstGeom prst="rect">
            <a:avLst/>
          </a:prstGeom>
        </p:spPr>
        <p:txBody>
          <a:bodyPr vert="horz" lIns="65252" tIns="32626" rIns="65252" bIns="32626" rtlCol="0"/>
          <a:lstStyle>
            <a:lvl1pPr algn="l">
              <a:defRPr sz="9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4425" y="1"/>
            <a:ext cx="3078503" cy="513540"/>
          </a:xfrm>
          <a:prstGeom prst="rect">
            <a:avLst/>
          </a:prstGeom>
        </p:spPr>
        <p:txBody>
          <a:bodyPr vert="horz" lIns="65252" tIns="32626" rIns="65252" bIns="32626" rtlCol="0"/>
          <a:lstStyle>
            <a:lvl1pPr algn="r">
              <a:defRPr sz="900"/>
            </a:lvl1pPr>
          </a:lstStyle>
          <a:p>
            <a:fld id="{E746D99E-CB85-4535-828D-5F9D7B8AE72A}" type="datetimeFigureOut">
              <a:rPr lang="en-ZA" smtClean="0"/>
              <a:t>2022/09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5252" tIns="32626" rIns="65252" bIns="32626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861" y="4925012"/>
            <a:ext cx="5682342" cy="4030275"/>
          </a:xfrm>
          <a:prstGeom prst="rect">
            <a:avLst/>
          </a:prstGeom>
        </p:spPr>
        <p:txBody>
          <a:bodyPr vert="horz" lIns="65252" tIns="32626" rIns="65252" bIns="3262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073"/>
            <a:ext cx="3078503" cy="513540"/>
          </a:xfrm>
          <a:prstGeom prst="rect">
            <a:avLst/>
          </a:prstGeom>
        </p:spPr>
        <p:txBody>
          <a:bodyPr vert="horz" lIns="65252" tIns="32626" rIns="65252" bIns="32626" rtlCol="0" anchor="b"/>
          <a:lstStyle>
            <a:lvl1pPr algn="l">
              <a:defRPr sz="900"/>
            </a:lvl1pPr>
          </a:lstStyle>
          <a:p>
            <a:r>
              <a:rPr lang="en-ZA"/>
              <a:t>CENTRAL TÉRMICA DE TEMA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4425" y="9721073"/>
            <a:ext cx="3078503" cy="513540"/>
          </a:xfrm>
          <a:prstGeom prst="rect">
            <a:avLst/>
          </a:prstGeom>
        </p:spPr>
        <p:txBody>
          <a:bodyPr vert="horz" lIns="65252" tIns="32626" rIns="65252" bIns="32626" rtlCol="0" anchor="b"/>
          <a:lstStyle>
            <a:lvl1pPr algn="r">
              <a:defRPr sz="900"/>
            </a:lvl1pPr>
          </a:lstStyle>
          <a:p>
            <a:fld id="{7EA0D3BA-78B8-4676-ABDA-42C2C717FA10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5659275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0D3BA-78B8-4676-ABDA-42C2C717FA10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ZA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2423102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0D3BA-78B8-4676-ABDA-42C2C717FA10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ZA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28871156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C2EB17-3AD2-1748-AFEF-F8CE10BB07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770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0D3BA-78B8-4676-ABDA-42C2C717FA10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577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0D3BA-78B8-4676-ABDA-42C2C717FA10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425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S</a:t>
            </a: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A0D3BA-78B8-4676-ABDA-42C2C717FA10}" type="slidenum">
              <a:rPr lang="en-ZA" smtClean="0"/>
              <a:t>7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ZA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3022412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A4BD52-05EA-4561-8B8B-E5EB59787A22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ZA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2362635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0D3BA-78B8-4676-ABDA-42C2C717FA10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ZA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1648267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57175"/>
            <a:ext cx="9115425" cy="762000"/>
          </a:xfrm>
        </p:spPr>
        <p:txBody>
          <a:bodyPr anchor="ctr"/>
          <a:lstStyle>
            <a:lvl1pPr>
              <a:defRPr baseline="0">
                <a:latin typeface="Palatino Linotype" panose="02040502050505030304" pitchFamily="18" charset="0"/>
              </a:defRPr>
            </a:lvl1pPr>
          </a:lstStyle>
          <a:p>
            <a:r>
              <a:rPr lang="en-US"/>
              <a:t>Click to edit page title style</a:t>
            </a:r>
            <a:br>
              <a:rPr lang="en-US"/>
            </a:br>
            <a:r>
              <a:rPr lang="en-US"/>
              <a:t>on two lines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1475" y="1168400"/>
            <a:ext cx="9252027" cy="515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E9ECED-F820-4567-B11B-EBD491ACA532}"/>
              </a:ext>
            </a:extLst>
          </p:cNvPr>
          <p:cNvSpPr/>
          <p:nvPr userDrawn="1"/>
        </p:nvSpPr>
        <p:spPr>
          <a:xfrm>
            <a:off x="-567302" y="777663"/>
            <a:ext cx="369277" cy="334163"/>
          </a:xfrm>
          <a:prstGeom prst="rect">
            <a:avLst/>
          </a:prstGeom>
          <a:solidFill>
            <a:srgbClr val="2E30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DE4FCD-3EB8-4F21-8336-4AAE804C2ACE}"/>
              </a:ext>
            </a:extLst>
          </p:cNvPr>
          <p:cNvSpPr/>
          <p:nvPr userDrawn="1"/>
        </p:nvSpPr>
        <p:spPr>
          <a:xfrm>
            <a:off x="-567302" y="1884651"/>
            <a:ext cx="369277" cy="334163"/>
          </a:xfrm>
          <a:prstGeom prst="rect">
            <a:avLst/>
          </a:prstGeom>
          <a:solidFill>
            <a:srgbClr val="ED7D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A6A3F7-8089-4E4F-84CF-AD11FD2B71D6}"/>
              </a:ext>
            </a:extLst>
          </p:cNvPr>
          <p:cNvSpPr/>
          <p:nvPr userDrawn="1"/>
        </p:nvSpPr>
        <p:spPr>
          <a:xfrm>
            <a:off x="-567302" y="1146659"/>
            <a:ext cx="369277" cy="334163"/>
          </a:xfrm>
          <a:prstGeom prst="rect">
            <a:avLst/>
          </a:prstGeom>
          <a:solidFill>
            <a:srgbClr val="A6A7A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1DF62A-DBEE-4DA7-8167-2FF6387E12C2}"/>
              </a:ext>
            </a:extLst>
          </p:cNvPr>
          <p:cNvSpPr/>
          <p:nvPr userDrawn="1"/>
        </p:nvSpPr>
        <p:spPr>
          <a:xfrm>
            <a:off x="-567302" y="2622643"/>
            <a:ext cx="369277" cy="334163"/>
          </a:xfrm>
          <a:prstGeom prst="rect">
            <a:avLst/>
          </a:prstGeom>
          <a:solidFill>
            <a:srgbClr val="0071BC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0A5356-FD18-4EE6-974C-E31C518D55FC}"/>
              </a:ext>
            </a:extLst>
          </p:cNvPr>
          <p:cNvSpPr/>
          <p:nvPr userDrawn="1"/>
        </p:nvSpPr>
        <p:spPr>
          <a:xfrm>
            <a:off x="-567302" y="2253647"/>
            <a:ext cx="369277" cy="334163"/>
          </a:xfrm>
          <a:prstGeom prst="rect">
            <a:avLst/>
          </a:prstGeom>
          <a:solidFill>
            <a:srgbClr val="F7930D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CA3921-3066-4D60-962F-B6E53FFF7F3E}"/>
              </a:ext>
            </a:extLst>
          </p:cNvPr>
          <p:cNvSpPr/>
          <p:nvPr userDrawn="1"/>
        </p:nvSpPr>
        <p:spPr>
          <a:xfrm>
            <a:off x="-567302" y="2991639"/>
            <a:ext cx="369277" cy="334163"/>
          </a:xfrm>
          <a:prstGeom prst="rect">
            <a:avLst/>
          </a:prstGeom>
          <a:solidFill>
            <a:srgbClr val="004D8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F1E088-F43D-4CC5-B8A6-06E83CD153CE}"/>
              </a:ext>
            </a:extLst>
          </p:cNvPr>
          <p:cNvSpPr/>
          <p:nvPr userDrawn="1"/>
        </p:nvSpPr>
        <p:spPr>
          <a:xfrm>
            <a:off x="-567302" y="5047860"/>
            <a:ext cx="369277" cy="334163"/>
          </a:xfrm>
          <a:prstGeom prst="rect">
            <a:avLst/>
          </a:prstGeom>
          <a:solidFill>
            <a:srgbClr val="E0EEF8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F09594-77A8-45C2-8F81-4F37E7DBE3B2}"/>
              </a:ext>
            </a:extLst>
          </p:cNvPr>
          <p:cNvSpPr/>
          <p:nvPr userDrawn="1"/>
        </p:nvSpPr>
        <p:spPr>
          <a:xfrm>
            <a:off x="-567302" y="1515655"/>
            <a:ext cx="369277" cy="334163"/>
          </a:xfrm>
          <a:prstGeom prst="rect">
            <a:avLst/>
          </a:prstGeom>
          <a:solidFill>
            <a:srgbClr val="EFEFE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FC07A-F52D-43F4-B2B7-42226CDF9624}"/>
              </a:ext>
            </a:extLst>
          </p:cNvPr>
          <p:cNvSpPr/>
          <p:nvPr userDrawn="1"/>
        </p:nvSpPr>
        <p:spPr>
          <a:xfrm>
            <a:off x="-839864" y="42078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Core Palett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462EC9-3F22-45F4-AB7C-0CB643808293}"/>
              </a:ext>
            </a:extLst>
          </p:cNvPr>
          <p:cNvSpPr/>
          <p:nvPr userDrawn="1"/>
        </p:nvSpPr>
        <p:spPr>
          <a:xfrm>
            <a:off x="-839864" y="3574283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Other Op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AB966E-A41F-4A20-A1B8-4DCC74245384}"/>
              </a:ext>
            </a:extLst>
          </p:cNvPr>
          <p:cNvSpPr/>
          <p:nvPr userDrawn="1"/>
        </p:nvSpPr>
        <p:spPr>
          <a:xfrm>
            <a:off x="-567302" y="4309868"/>
            <a:ext cx="369277" cy="334163"/>
          </a:xfrm>
          <a:prstGeom prst="rect">
            <a:avLst/>
          </a:prstGeom>
          <a:solidFill>
            <a:srgbClr val="62789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CE48D8-B656-43F4-AFD5-3331F61006CA}"/>
              </a:ext>
            </a:extLst>
          </p:cNvPr>
          <p:cNvSpPr/>
          <p:nvPr userDrawn="1"/>
        </p:nvSpPr>
        <p:spPr>
          <a:xfrm>
            <a:off x="-567302" y="4678864"/>
            <a:ext cx="369277" cy="334163"/>
          </a:xfrm>
          <a:prstGeom prst="rect">
            <a:avLst/>
          </a:prstGeom>
          <a:solidFill>
            <a:srgbClr val="70CED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C37F62-7496-4F54-97DB-D3DFAC47372A}"/>
              </a:ext>
            </a:extLst>
          </p:cNvPr>
          <p:cNvSpPr/>
          <p:nvPr userDrawn="1"/>
        </p:nvSpPr>
        <p:spPr>
          <a:xfrm>
            <a:off x="-567302" y="5416856"/>
            <a:ext cx="369277" cy="334163"/>
          </a:xfrm>
          <a:prstGeom prst="rect">
            <a:avLst/>
          </a:prstGeom>
          <a:solidFill>
            <a:srgbClr val="00743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35B5BAE-B2F6-458F-B2B7-6A9A679F5B65}"/>
              </a:ext>
            </a:extLst>
          </p:cNvPr>
          <p:cNvSpPr/>
          <p:nvPr userDrawn="1"/>
        </p:nvSpPr>
        <p:spPr>
          <a:xfrm>
            <a:off x="-567302" y="6154848"/>
            <a:ext cx="369277" cy="334163"/>
          </a:xfrm>
          <a:prstGeom prst="rect">
            <a:avLst/>
          </a:prstGeom>
          <a:solidFill>
            <a:srgbClr val="A62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62E8B68-1406-4FFB-B5CA-8C1B863ECFD6}"/>
              </a:ext>
            </a:extLst>
          </p:cNvPr>
          <p:cNvSpPr/>
          <p:nvPr userDrawn="1"/>
        </p:nvSpPr>
        <p:spPr>
          <a:xfrm>
            <a:off x="-567302" y="5785852"/>
            <a:ext cx="369277" cy="334163"/>
          </a:xfrm>
          <a:prstGeom prst="rect">
            <a:avLst/>
          </a:prstGeom>
          <a:solidFill>
            <a:srgbClr val="FBB80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276051-3BA0-4EEB-85F0-022B6DF06F55}"/>
              </a:ext>
            </a:extLst>
          </p:cNvPr>
          <p:cNvSpPr/>
          <p:nvPr userDrawn="1"/>
        </p:nvSpPr>
        <p:spPr>
          <a:xfrm>
            <a:off x="-567302" y="6523837"/>
            <a:ext cx="369277" cy="334163"/>
          </a:xfrm>
          <a:prstGeom prst="rect">
            <a:avLst/>
          </a:prstGeom>
          <a:solidFill>
            <a:srgbClr val="493A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68885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53F48-488D-4436-975C-CA3FF5279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FA1588-B367-4380-AE4C-D031F57B3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8DC610-4714-4499-ABA0-F806755CBC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F7625E-1896-481A-9A13-A7FE1C3C2E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215589-7F41-47AC-95D7-903E15B7BA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6CA655-F9A7-413E-B8EE-90C56F3E2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46FFAA-155D-4815-BD36-568945548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5C6254-52D0-4CF2-85FC-70AA27815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0520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15EE4-3F97-40BD-88B5-01BFF8428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4ADDC2-4FB0-45CF-81CF-2D360301CC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C44AE4-0C27-475E-8D82-AC7F4FA18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EBC5D5-10CC-47F3-B180-3590D8417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4148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5CFEBC-C8EE-417E-B29D-4AA303528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6F85A-AE29-4A4D-9D10-6C429A65A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B07D9-9842-4CBC-B2A4-5190A22B4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3752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F4BDAA-C7FB-497C-8027-957BA4BB4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6FB15-34E7-4B94-89C4-F713A3A1EF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E099C0-561F-481F-AC54-5188CF9230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3FE1B-E28F-45D0-8131-B3A74632F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97D92C-4655-4247-863F-E06AED070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F56A05-91B2-4541-B491-8017AA1A8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690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CEA995-8A12-49D5-BDE8-323EAA0E3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153F2D-CAA1-453A-99EA-8FDD2A387F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8EE7F4-746C-435F-9FDF-C73A6447D7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BDE130-B3BF-4260-B1BE-A4F7E69C4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4EFD6E-6334-47EC-9E0E-3FCE27338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1A4171-05C2-4CDD-9550-2295177E7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709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5ACDBC-F509-4BF1-9734-5C51F2843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4225FF-BF7B-42C8-B93D-152FFA42B1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5D8BBF-376C-42EB-B686-C64E21DEF7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BB5D54-E76B-482C-B273-0CA87A5FC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A855DB-2E54-403C-8045-EAA347D38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960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DCB3D3E-011F-48D6-9A81-A63A6FA1C8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B18DEE-2BBB-4AF2-9613-F6272146A4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05C527-A1FB-4D24-9B56-B8BED47CE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42E24E-3DA1-4470-BCF4-A2F098FB0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E1748-E884-428B-95F1-B18CCF59A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324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95FBC24-1610-4076-9281-484BB70B8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959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6" imgH="343" progId="TCLayout.ActiveDocument.1">
                  <p:embed/>
                </p:oleObj>
              </mc:Choice>
              <mc:Fallback>
                <p:oleObj name="think-cell Slide" r:id="rId4" imgW="366" imgH="34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95FBC24-1610-4076-9281-484BB70B8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36D58A-DDDD-4984-8EE1-BC37EC3E49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ZA" sz="2200" b="0" i="0" baseline="0">
              <a:latin typeface="Palatino Linotype" panose="02040502050505030304" pitchFamily="18" charset="0"/>
              <a:ea typeface="+mj-ea"/>
              <a:cs typeface="+mj-cs"/>
              <a:sym typeface="Palatino Linotype" panose="02040502050505030304" pitchFamily="18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57175"/>
            <a:ext cx="9115425" cy="762000"/>
          </a:xfrm>
        </p:spPr>
        <p:txBody>
          <a:bodyPr anchor="ctr"/>
          <a:lstStyle>
            <a:lvl1pPr>
              <a:defRPr baseline="0">
                <a:latin typeface="Palatino Linotype" panose="02040502050505030304" pitchFamily="18" charset="0"/>
              </a:defRPr>
            </a:lvl1pPr>
          </a:lstStyle>
          <a:p>
            <a:r>
              <a:rPr lang="en-ZA"/>
              <a:t>Click to edit page title style</a:t>
            </a:r>
            <a:br>
              <a:rPr lang="en-ZA"/>
            </a:br>
            <a:r>
              <a:rPr lang="en-ZA"/>
              <a:t>on two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1475" y="1168400"/>
            <a:ext cx="9252027" cy="5156200"/>
          </a:xfrm>
        </p:spPr>
        <p:txBody>
          <a:bodyPr/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E9ECED-F820-4567-B11B-EBD491ACA532}"/>
              </a:ext>
            </a:extLst>
          </p:cNvPr>
          <p:cNvSpPr/>
          <p:nvPr userDrawn="1"/>
        </p:nvSpPr>
        <p:spPr>
          <a:xfrm>
            <a:off x="-567302" y="777663"/>
            <a:ext cx="369277" cy="334163"/>
          </a:xfrm>
          <a:prstGeom prst="rect">
            <a:avLst/>
          </a:prstGeom>
          <a:solidFill>
            <a:srgbClr val="2E30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DE4FCD-3EB8-4F21-8336-4AAE804C2ACE}"/>
              </a:ext>
            </a:extLst>
          </p:cNvPr>
          <p:cNvSpPr/>
          <p:nvPr userDrawn="1"/>
        </p:nvSpPr>
        <p:spPr>
          <a:xfrm>
            <a:off x="-567302" y="1884651"/>
            <a:ext cx="369277" cy="334163"/>
          </a:xfrm>
          <a:prstGeom prst="rect">
            <a:avLst/>
          </a:prstGeom>
          <a:solidFill>
            <a:srgbClr val="ED7D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A6A3F7-8089-4E4F-84CF-AD11FD2B71D6}"/>
              </a:ext>
            </a:extLst>
          </p:cNvPr>
          <p:cNvSpPr/>
          <p:nvPr userDrawn="1"/>
        </p:nvSpPr>
        <p:spPr>
          <a:xfrm>
            <a:off x="-567302" y="1146659"/>
            <a:ext cx="369277" cy="334163"/>
          </a:xfrm>
          <a:prstGeom prst="rect">
            <a:avLst/>
          </a:prstGeom>
          <a:solidFill>
            <a:srgbClr val="A6A7A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1DF62A-DBEE-4DA7-8167-2FF6387E12C2}"/>
              </a:ext>
            </a:extLst>
          </p:cNvPr>
          <p:cNvSpPr/>
          <p:nvPr userDrawn="1"/>
        </p:nvSpPr>
        <p:spPr>
          <a:xfrm>
            <a:off x="-567302" y="2622643"/>
            <a:ext cx="369277" cy="334163"/>
          </a:xfrm>
          <a:prstGeom prst="rect">
            <a:avLst/>
          </a:prstGeom>
          <a:solidFill>
            <a:srgbClr val="0071BC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0A5356-FD18-4EE6-974C-E31C518D55FC}"/>
              </a:ext>
            </a:extLst>
          </p:cNvPr>
          <p:cNvSpPr/>
          <p:nvPr userDrawn="1"/>
        </p:nvSpPr>
        <p:spPr>
          <a:xfrm>
            <a:off x="-567302" y="2253647"/>
            <a:ext cx="369277" cy="334163"/>
          </a:xfrm>
          <a:prstGeom prst="rect">
            <a:avLst/>
          </a:prstGeom>
          <a:solidFill>
            <a:srgbClr val="F7930D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CA3921-3066-4D60-962F-B6E53FFF7F3E}"/>
              </a:ext>
            </a:extLst>
          </p:cNvPr>
          <p:cNvSpPr/>
          <p:nvPr userDrawn="1"/>
        </p:nvSpPr>
        <p:spPr>
          <a:xfrm>
            <a:off x="-567302" y="2991639"/>
            <a:ext cx="369277" cy="334163"/>
          </a:xfrm>
          <a:prstGeom prst="rect">
            <a:avLst/>
          </a:prstGeom>
          <a:solidFill>
            <a:srgbClr val="004D8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F1E088-F43D-4CC5-B8A6-06E83CD153CE}"/>
              </a:ext>
            </a:extLst>
          </p:cNvPr>
          <p:cNvSpPr/>
          <p:nvPr userDrawn="1"/>
        </p:nvSpPr>
        <p:spPr>
          <a:xfrm>
            <a:off x="-567302" y="5047860"/>
            <a:ext cx="369277" cy="334163"/>
          </a:xfrm>
          <a:prstGeom prst="rect">
            <a:avLst/>
          </a:prstGeom>
          <a:solidFill>
            <a:srgbClr val="E0EEF8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F09594-77A8-45C2-8F81-4F37E7DBE3B2}"/>
              </a:ext>
            </a:extLst>
          </p:cNvPr>
          <p:cNvSpPr/>
          <p:nvPr userDrawn="1"/>
        </p:nvSpPr>
        <p:spPr>
          <a:xfrm>
            <a:off x="-567302" y="1515655"/>
            <a:ext cx="369277" cy="334163"/>
          </a:xfrm>
          <a:prstGeom prst="rect">
            <a:avLst/>
          </a:prstGeom>
          <a:solidFill>
            <a:srgbClr val="EFEFE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FC07A-F52D-43F4-B2B7-42226CDF9624}"/>
              </a:ext>
            </a:extLst>
          </p:cNvPr>
          <p:cNvSpPr/>
          <p:nvPr userDrawn="1"/>
        </p:nvSpPr>
        <p:spPr>
          <a:xfrm>
            <a:off x="-839864" y="42078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Core Palett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462EC9-3F22-45F4-AB7C-0CB643808293}"/>
              </a:ext>
            </a:extLst>
          </p:cNvPr>
          <p:cNvSpPr/>
          <p:nvPr userDrawn="1"/>
        </p:nvSpPr>
        <p:spPr>
          <a:xfrm>
            <a:off x="-839864" y="3574283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Other Op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AB966E-A41F-4A20-A1B8-4DCC74245384}"/>
              </a:ext>
            </a:extLst>
          </p:cNvPr>
          <p:cNvSpPr/>
          <p:nvPr userDrawn="1"/>
        </p:nvSpPr>
        <p:spPr>
          <a:xfrm>
            <a:off x="-567302" y="4309868"/>
            <a:ext cx="369277" cy="334163"/>
          </a:xfrm>
          <a:prstGeom prst="rect">
            <a:avLst/>
          </a:prstGeom>
          <a:solidFill>
            <a:srgbClr val="62789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CE48D8-B656-43F4-AFD5-3331F61006CA}"/>
              </a:ext>
            </a:extLst>
          </p:cNvPr>
          <p:cNvSpPr/>
          <p:nvPr userDrawn="1"/>
        </p:nvSpPr>
        <p:spPr>
          <a:xfrm>
            <a:off x="-567302" y="4678864"/>
            <a:ext cx="369277" cy="334163"/>
          </a:xfrm>
          <a:prstGeom prst="rect">
            <a:avLst/>
          </a:prstGeom>
          <a:solidFill>
            <a:srgbClr val="70CED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C37F62-7496-4F54-97DB-D3DFAC47372A}"/>
              </a:ext>
            </a:extLst>
          </p:cNvPr>
          <p:cNvSpPr/>
          <p:nvPr userDrawn="1"/>
        </p:nvSpPr>
        <p:spPr>
          <a:xfrm>
            <a:off x="-567302" y="5416856"/>
            <a:ext cx="369277" cy="334163"/>
          </a:xfrm>
          <a:prstGeom prst="rect">
            <a:avLst/>
          </a:prstGeom>
          <a:solidFill>
            <a:srgbClr val="00743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35B5BAE-B2F6-458F-B2B7-6A9A679F5B65}"/>
              </a:ext>
            </a:extLst>
          </p:cNvPr>
          <p:cNvSpPr/>
          <p:nvPr userDrawn="1"/>
        </p:nvSpPr>
        <p:spPr>
          <a:xfrm>
            <a:off x="-567302" y="6154848"/>
            <a:ext cx="369277" cy="334163"/>
          </a:xfrm>
          <a:prstGeom prst="rect">
            <a:avLst/>
          </a:prstGeom>
          <a:solidFill>
            <a:srgbClr val="A62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62E8B68-1406-4FFB-B5CA-8C1B863ECFD6}"/>
              </a:ext>
            </a:extLst>
          </p:cNvPr>
          <p:cNvSpPr/>
          <p:nvPr userDrawn="1"/>
        </p:nvSpPr>
        <p:spPr>
          <a:xfrm>
            <a:off x="-567302" y="5785852"/>
            <a:ext cx="369277" cy="334163"/>
          </a:xfrm>
          <a:prstGeom prst="rect">
            <a:avLst/>
          </a:prstGeom>
          <a:solidFill>
            <a:srgbClr val="FBB80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276051-3BA0-4EEB-85F0-022B6DF06F55}"/>
              </a:ext>
            </a:extLst>
          </p:cNvPr>
          <p:cNvSpPr/>
          <p:nvPr userDrawn="1"/>
        </p:nvSpPr>
        <p:spPr>
          <a:xfrm>
            <a:off x="-567302" y="6523837"/>
            <a:ext cx="369277" cy="334163"/>
          </a:xfrm>
          <a:prstGeom prst="rect">
            <a:avLst/>
          </a:prstGeom>
          <a:solidFill>
            <a:srgbClr val="493A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09086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57175"/>
            <a:ext cx="9115425" cy="762000"/>
          </a:xfrm>
        </p:spPr>
        <p:txBody>
          <a:bodyPr anchor="ctr"/>
          <a:lstStyle>
            <a:lvl1pPr>
              <a:defRPr baseline="0">
                <a:latin typeface="Palatino Linotype" panose="02040502050505030304" pitchFamily="18" charset="0"/>
              </a:defRPr>
            </a:lvl1pPr>
          </a:lstStyle>
          <a:p>
            <a:r>
              <a:rPr lang="en-US"/>
              <a:t>Click to edit page title style</a:t>
            </a:r>
            <a:br>
              <a:rPr lang="en-US"/>
            </a:br>
            <a:r>
              <a:rPr lang="en-US"/>
              <a:t>on two lines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1475" y="1168400"/>
            <a:ext cx="9252027" cy="515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E9ECED-F820-4567-B11B-EBD491ACA532}"/>
              </a:ext>
            </a:extLst>
          </p:cNvPr>
          <p:cNvSpPr/>
          <p:nvPr userDrawn="1"/>
        </p:nvSpPr>
        <p:spPr>
          <a:xfrm>
            <a:off x="-567302" y="777663"/>
            <a:ext cx="369277" cy="334163"/>
          </a:xfrm>
          <a:prstGeom prst="rect">
            <a:avLst/>
          </a:prstGeom>
          <a:solidFill>
            <a:srgbClr val="2E30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DE4FCD-3EB8-4F21-8336-4AAE804C2ACE}"/>
              </a:ext>
            </a:extLst>
          </p:cNvPr>
          <p:cNvSpPr/>
          <p:nvPr userDrawn="1"/>
        </p:nvSpPr>
        <p:spPr>
          <a:xfrm>
            <a:off x="-567302" y="1884651"/>
            <a:ext cx="369277" cy="334163"/>
          </a:xfrm>
          <a:prstGeom prst="rect">
            <a:avLst/>
          </a:prstGeom>
          <a:solidFill>
            <a:srgbClr val="ED7D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A6A3F7-8089-4E4F-84CF-AD11FD2B71D6}"/>
              </a:ext>
            </a:extLst>
          </p:cNvPr>
          <p:cNvSpPr/>
          <p:nvPr userDrawn="1"/>
        </p:nvSpPr>
        <p:spPr>
          <a:xfrm>
            <a:off x="-567302" y="1146659"/>
            <a:ext cx="369277" cy="334163"/>
          </a:xfrm>
          <a:prstGeom prst="rect">
            <a:avLst/>
          </a:prstGeom>
          <a:solidFill>
            <a:srgbClr val="A6A7A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1DF62A-DBEE-4DA7-8167-2FF6387E12C2}"/>
              </a:ext>
            </a:extLst>
          </p:cNvPr>
          <p:cNvSpPr/>
          <p:nvPr userDrawn="1"/>
        </p:nvSpPr>
        <p:spPr>
          <a:xfrm>
            <a:off x="-567302" y="2622643"/>
            <a:ext cx="369277" cy="334163"/>
          </a:xfrm>
          <a:prstGeom prst="rect">
            <a:avLst/>
          </a:prstGeom>
          <a:solidFill>
            <a:srgbClr val="0071BC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0A5356-FD18-4EE6-974C-E31C518D55FC}"/>
              </a:ext>
            </a:extLst>
          </p:cNvPr>
          <p:cNvSpPr/>
          <p:nvPr userDrawn="1"/>
        </p:nvSpPr>
        <p:spPr>
          <a:xfrm>
            <a:off x="-567302" y="2253647"/>
            <a:ext cx="369277" cy="334163"/>
          </a:xfrm>
          <a:prstGeom prst="rect">
            <a:avLst/>
          </a:prstGeom>
          <a:solidFill>
            <a:srgbClr val="F7930D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CA3921-3066-4D60-962F-B6E53FFF7F3E}"/>
              </a:ext>
            </a:extLst>
          </p:cNvPr>
          <p:cNvSpPr/>
          <p:nvPr userDrawn="1"/>
        </p:nvSpPr>
        <p:spPr>
          <a:xfrm>
            <a:off x="-567302" y="2991639"/>
            <a:ext cx="369277" cy="334163"/>
          </a:xfrm>
          <a:prstGeom prst="rect">
            <a:avLst/>
          </a:prstGeom>
          <a:solidFill>
            <a:srgbClr val="004D8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F1E088-F43D-4CC5-B8A6-06E83CD153CE}"/>
              </a:ext>
            </a:extLst>
          </p:cNvPr>
          <p:cNvSpPr/>
          <p:nvPr userDrawn="1"/>
        </p:nvSpPr>
        <p:spPr>
          <a:xfrm>
            <a:off x="-567302" y="5047860"/>
            <a:ext cx="369277" cy="334163"/>
          </a:xfrm>
          <a:prstGeom prst="rect">
            <a:avLst/>
          </a:prstGeom>
          <a:solidFill>
            <a:srgbClr val="E0EEF8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F09594-77A8-45C2-8F81-4F37E7DBE3B2}"/>
              </a:ext>
            </a:extLst>
          </p:cNvPr>
          <p:cNvSpPr/>
          <p:nvPr userDrawn="1"/>
        </p:nvSpPr>
        <p:spPr>
          <a:xfrm>
            <a:off x="-567302" y="1515655"/>
            <a:ext cx="369277" cy="334163"/>
          </a:xfrm>
          <a:prstGeom prst="rect">
            <a:avLst/>
          </a:prstGeom>
          <a:solidFill>
            <a:srgbClr val="EFEFE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FC07A-F52D-43F4-B2B7-42226CDF9624}"/>
              </a:ext>
            </a:extLst>
          </p:cNvPr>
          <p:cNvSpPr/>
          <p:nvPr userDrawn="1"/>
        </p:nvSpPr>
        <p:spPr>
          <a:xfrm>
            <a:off x="-839864" y="42078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Core Palett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462EC9-3F22-45F4-AB7C-0CB643808293}"/>
              </a:ext>
            </a:extLst>
          </p:cNvPr>
          <p:cNvSpPr/>
          <p:nvPr userDrawn="1"/>
        </p:nvSpPr>
        <p:spPr>
          <a:xfrm>
            <a:off x="-839864" y="3574283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Other Op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AB966E-A41F-4A20-A1B8-4DCC74245384}"/>
              </a:ext>
            </a:extLst>
          </p:cNvPr>
          <p:cNvSpPr/>
          <p:nvPr userDrawn="1"/>
        </p:nvSpPr>
        <p:spPr>
          <a:xfrm>
            <a:off x="-567302" y="4309868"/>
            <a:ext cx="369277" cy="334163"/>
          </a:xfrm>
          <a:prstGeom prst="rect">
            <a:avLst/>
          </a:prstGeom>
          <a:solidFill>
            <a:srgbClr val="62789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CE48D8-B656-43F4-AFD5-3331F61006CA}"/>
              </a:ext>
            </a:extLst>
          </p:cNvPr>
          <p:cNvSpPr/>
          <p:nvPr userDrawn="1"/>
        </p:nvSpPr>
        <p:spPr>
          <a:xfrm>
            <a:off x="-567302" y="4678864"/>
            <a:ext cx="369277" cy="334163"/>
          </a:xfrm>
          <a:prstGeom prst="rect">
            <a:avLst/>
          </a:prstGeom>
          <a:solidFill>
            <a:srgbClr val="70CED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C37F62-7496-4F54-97DB-D3DFAC47372A}"/>
              </a:ext>
            </a:extLst>
          </p:cNvPr>
          <p:cNvSpPr/>
          <p:nvPr userDrawn="1"/>
        </p:nvSpPr>
        <p:spPr>
          <a:xfrm>
            <a:off x="-567302" y="5416856"/>
            <a:ext cx="369277" cy="334163"/>
          </a:xfrm>
          <a:prstGeom prst="rect">
            <a:avLst/>
          </a:prstGeom>
          <a:solidFill>
            <a:srgbClr val="00743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35B5BAE-B2F6-458F-B2B7-6A9A679F5B65}"/>
              </a:ext>
            </a:extLst>
          </p:cNvPr>
          <p:cNvSpPr/>
          <p:nvPr userDrawn="1"/>
        </p:nvSpPr>
        <p:spPr>
          <a:xfrm>
            <a:off x="-567302" y="6154848"/>
            <a:ext cx="369277" cy="334163"/>
          </a:xfrm>
          <a:prstGeom prst="rect">
            <a:avLst/>
          </a:prstGeom>
          <a:solidFill>
            <a:srgbClr val="A62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62E8B68-1406-4FFB-B5CA-8C1B863ECFD6}"/>
              </a:ext>
            </a:extLst>
          </p:cNvPr>
          <p:cNvSpPr/>
          <p:nvPr userDrawn="1"/>
        </p:nvSpPr>
        <p:spPr>
          <a:xfrm>
            <a:off x="-567302" y="5785852"/>
            <a:ext cx="369277" cy="334163"/>
          </a:xfrm>
          <a:prstGeom prst="rect">
            <a:avLst/>
          </a:prstGeom>
          <a:solidFill>
            <a:srgbClr val="FBB80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276051-3BA0-4EEB-85F0-022B6DF06F55}"/>
              </a:ext>
            </a:extLst>
          </p:cNvPr>
          <p:cNvSpPr/>
          <p:nvPr userDrawn="1"/>
        </p:nvSpPr>
        <p:spPr>
          <a:xfrm>
            <a:off x="-567302" y="6523837"/>
            <a:ext cx="369277" cy="334163"/>
          </a:xfrm>
          <a:prstGeom prst="rect">
            <a:avLst/>
          </a:prstGeom>
          <a:solidFill>
            <a:srgbClr val="493A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22318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7CB22F6-AF29-4DFC-87A7-42EDDFE833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08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7CB22F6-AF29-4DFC-87A7-42EDDFE83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170F96F-E72D-4A76-84F9-229D1D5146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 descr="ppt_16_9-02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2" y="0"/>
            <a:ext cx="1217802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525" y="222701"/>
            <a:ext cx="11424920" cy="732155"/>
          </a:xfrm>
          <a:prstGeom prst="rect">
            <a:avLst/>
          </a:prstGeom>
        </p:spPr>
        <p:txBody>
          <a:bodyPr/>
          <a:lstStyle>
            <a:lvl1pPr>
              <a:defRPr sz="3200" b="1" i="0" baseline="0">
                <a:solidFill>
                  <a:srgbClr val="F89921"/>
                </a:solidFill>
              </a:defRPr>
            </a:lvl1pPr>
          </a:lstStyle>
          <a:p>
            <a:r>
              <a:rPr lang="en-US"/>
              <a:t>SLIDE TITLE GOES HER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452120" y="1290640"/>
            <a:ext cx="10175241" cy="4299515"/>
          </a:xfrm>
          <a:prstGeom prst="rect">
            <a:avLst/>
          </a:prstGeom>
        </p:spPr>
        <p:txBody>
          <a:bodyPr/>
          <a:lstStyle>
            <a:lvl1pPr>
              <a:buClr>
                <a:srgbClr val="F89921"/>
              </a:buClr>
              <a:defRPr sz="2667" baseline="0"/>
            </a:lvl1pPr>
            <a:lvl2pPr>
              <a:buClr>
                <a:srgbClr val="F89921"/>
              </a:buClr>
              <a:defRPr sz="2667" baseline="0"/>
            </a:lvl2pPr>
            <a:lvl3pPr>
              <a:buClr>
                <a:srgbClr val="F89921"/>
              </a:buClr>
              <a:defRPr sz="2667" baseline="0"/>
            </a:lvl3pPr>
            <a:lvl4pPr>
              <a:buClr>
                <a:srgbClr val="F89921"/>
              </a:buClr>
              <a:defRPr sz="2667" baseline="0"/>
            </a:lvl4pPr>
            <a:lvl5pPr>
              <a:buClr>
                <a:srgbClr val="F89921"/>
              </a:buClr>
              <a:defRPr sz="2667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A72ED5-5D77-46E9-B153-98B6EDA4C083}"/>
              </a:ext>
            </a:extLst>
          </p:cNvPr>
          <p:cNvSpPr/>
          <p:nvPr userDrawn="1"/>
        </p:nvSpPr>
        <p:spPr>
          <a:xfrm>
            <a:off x="-519612" y="0"/>
            <a:ext cx="348915" cy="264695"/>
          </a:xfrm>
          <a:prstGeom prst="rect">
            <a:avLst/>
          </a:prstGeom>
          <a:solidFill>
            <a:srgbClr val="F498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272ECA-A65F-4230-9B9E-0EEEC0BC5356}"/>
              </a:ext>
            </a:extLst>
          </p:cNvPr>
          <p:cNvSpPr/>
          <p:nvPr userDrawn="1"/>
        </p:nvSpPr>
        <p:spPr>
          <a:xfrm>
            <a:off x="-519612" y="1000287"/>
            <a:ext cx="348915" cy="264695"/>
          </a:xfrm>
          <a:prstGeom prst="rect">
            <a:avLst/>
          </a:prstGeom>
          <a:solidFill>
            <a:srgbClr val="02467C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F643DB-261D-44A3-BCF8-1B0DE165C998}"/>
              </a:ext>
            </a:extLst>
          </p:cNvPr>
          <p:cNvSpPr/>
          <p:nvPr userDrawn="1"/>
        </p:nvSpPr>
        <p:spPr>
          <a:xfrm>
            <a:off x="-519612" y="333429"/>
            <a:ext cx="348915" cy="264695"/>
          </a:xfrm>
          <a:prstGeom prst="rect">
            <a:avLst/>
          </a:prstGeom>
          <a:solidFill>
            <a:srgbClr val="0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E72D5E-2833-4B0E-A983-4F01CF34C89D}"/>
              </a:ext>
            </a:extLst>
          </p:cNvPr>
          <p:cNvSpPr/>
          <p:nvPr userDrawn="1"/>
        </p:nvSpPr>
        <p:spPr>
          <a:xfrm>
            <a:off x="-519612" y="2000574"/>
            <a:ext cx="348915" cy="264695"/>
          </a:xfrm>
          <a:prstGeom prst="rect">
            <a:avLst/>
          </a:prstGeom>
          <a:solidFill>
            <a:srgbClr val="DBD7D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2FF5E2-2816-4E6E-9A06-64CED251F152}"/>
              </a:ext>
            </a:extLst>
          </p:cNvPr>
          <p:cNvSpPr/>
          <p:nvPr userDrawn="1"/>
        </p:nvSpPr>
        <p:spPr>
          <a:xfrm>
            <a:off x="-519612" y="666858"/>
            <a:ext cx="348915" cy="264695"/>
          </a:xfrm>
          <a:prstGeom prst="rect">
            <a:avLst/>
          </a:prstGeom>
          <a:solidFill>
            <a:srgbClr val="0069B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40C116-EED6-4F5E-B916-A5687F18935E}"/>
              </a:ext>
            </a:extLst>
          </p:cNvPr>
          <p:cNvSpPr/>
          <p:nvPr userDrawn="1"/>
        </p:nvSpPr>
        <p:spPr>
          <a:xfrm>
            <a:off x="-519612" y="1333716"/>
            <a:ext cx="348915" cy="264695"/>
          </a:xfrm>
          <a:prstGeom prst="rect">
            <a:avLst/>
          </a:prstGeom>
          <a:solidFill>
            <a:srgbClr val="6F6F6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DBD44F-8B8C-4D3C-BBED-01B5AB38EBCE}"/>
              </a:ext>
            </a:extLst>
          </p:cNvPr>
          <p:cNvSpPr/>
          <p:nvPr userDrawn="1"/>
        </p:nvSpPr>
        <p:spPr>
          <a:xfrm>
            <a:off x="-519612" y="1667145"/>
            <a:ext cx="348915" cy="264695"/>
          </a:xfrm>
          <a:prstGeom prst="rect">
            <a:avLst/>
          </a:prstGeom>
          <a:solidFill>
            <a:srgbClr val="C8C4C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F1CCBA-34F9-4054-B8FD-BB33AEB11427}"/>
              </a:ext>
            </a:extLst>
          </p:cNvPr>
          <p:cNvSpPr/>
          <p:nvPr userDrawn="1"/>
        </p:nvSpPr>
        <p:spPr>
          <a:xfrm>
            <a:off x="-519612" y="2334003"/>
            <a:ext cx="348915" cy="264695"/>
          </a:xfrm>
          <a:prstGeom prst="rect">
            <a:avLst/>
          </a:prstGeom>
          <a:solidFill>
            <a:srgbClr val="FFFF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480C638-3D6F-4C35-A1A9-B083191CFC88}"/>
              </a:ext>
            </a:extLst>
          </p:cNvPr>
          <p:cNvSpPr/>
          <p:nvPr userDrawn="1"/>
        </p:nvSpPr>
        <p:spPr>
          <a:xfrm>
            <a:off x="-519612" y="2667432"/>
            <a:ext cx="348915" cy="264695"/>
          </a:xfrm>
          <a:prstGeom prst="rect">
            <a:avLst/>
          </a:prstGeom>
          <a:solidFill>
            <a:srgbClr val="FFCD3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60E829-55CE-45F7-B19C-D014DB6618DB}"/>
              </a:ext>
            </a:extLst>
          </p:cNvPr>
          <p:cNvSpPr/>
          <p:nvPr userDrawn="1"/>
        </p:nvSpPr>
        <p:spPr>
          <a:xfrm>
            <a:off x="-519612" y="4001148"/>
            <a:ext cx="348915" cy="264695"/>
          </a:xfrm>
          <a:prstGeom prst="rect">
            <a:avLst/>
          </a:prstGeom>
          <a:solidFill>
            <a:srgbClr val="BADF7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2F02E0-E627-43FB-B28E-D8604EC541B7}"/>
              </a:ext>
            </a:extLst>
          </p:cNvPr>
          <p:cNvSpPr/>
          <p:nvPr userDrawn="1"/>
        </p:nvSpPr>
        <p:spPr>
          <a:xfrm>
            <a:off x="-519612" y="3000861"/>
            <a:ext cx="348915" cy="264695"/>
          </a:xfrm>
          <a:prstGeom prst="rect">
            <a:avLst/>
          </a:prstGeom>
          <a:solidFill>
            <a:srgbClr val="FF6E2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70C509-9E07-40C9-8EFA-0B1DE145C7BD}"/>
              </a:ext>
            </a:extLst>
          </p:cNvPr>
          <p:cNvSpPr/>
          <p:nvPr userDrawn="1"/>
        </p:nvSpPr>
        <p:spPr>
          <a:xfrm>
            <a:off x="-519612" y="3334290"/>
            <a:ext cx="348915" cy="264695"/>
          </a:xfrm>
          <a:prstGeom prst="rect">
            <a:avLst/>
          </a:prstGeom>
          <a:solidFill>
            <a:srgbClr val="ED2F2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80B5775-A509-4C90-A626-BEB8BE8A94F0}"/>
              </a:ext>
            </a:extLst>
          </p:cNvPr>
          <p:cNvSpPr/>
          <p:nvPr userDrawn="1"/>
        </p:nvSpPr>
        <p:spPr>
          <a:xfrm>
            <a:off x="-519612" y="3667719"/>
            <a:ext cx="348915" cy="264695"/>
          </a:xfrm>
          <a:prstGeom prst="rect">
            <a:avLst/>
          </a:prstGeom>
          <a:solidFill>
            <a:srgbClr val="C81C4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2427464-1A46-4AFF-9D61-2800FB505726}"/>
              </a:ext>
            </a:extLst>
          </p:cNvPr>
          <p:cNvSpPr/>
          <p:nvPr userDrawn="1"/>
        </p:nvSpPr>
        <p:spPr>
          <a:xfrm>
            <a:off x="-519612" y="4334577"/>
            <a:ext cx="348915" cy="264695"/>
          </a:xfrm>
          <a:prstGeom prst="rect">
            <a:avLst/>
          </a:prstGeom>
          <a:solidFill>
            <a:srgbClr val="7FCD5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5ABE6C3-5EC4-446E-9B7C-3940F51B90E8}"/>
              </a:ext>
            </a:extLst>
          </p:cNvPr>
          <p:cNvSpPr/>
          <p:nvPr userDrawn="1"/>
        </p:nvSpPr>
        <p:spPr>
          <a:xfrm>
            <a:off x="-519612" y="4668006"/>
            <a:ext cx="348915" cy="264695"/>
          </a:xfrm>
          <a:prstGeom prst="rect">
            <a:avLst/>
          </a:prstGeom>
          <a:solidFill>
            <a:srgbClr val="44A57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2932CC-367F-4D29-B050-D27E713C966D}"/>
              </a:ext>
            </a:extLst>
          </p:cNvPr>
          <p:cNvSpPr/>
          <p:nvPr userDrawn="1"/>
        </p:nvSpPr>
        <p:spPr>
          <a:xfrm>
            <a:off x="-519612" y="5001435"/>
            <a:ext cx="348915" cy="264695"/>
          </a:xfrm>
          <a:prstGeom prst="rect">
            <a:avLst/>
          </a:prstGeom>
          <a:solidFill>
            <a:srgbClr val="006E3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5DD8968-177B-4F36-94BC-F7ED724E28CD}"/>
              </a:ext>
            </a:extLst>
          </p:cNvPr>
          <p:cNvSpPr/>
          <p:nvPr userDrawn="1"/>
        </p:nvSpPr>
        <p:spPr>
          <a:xfrm>
            <a:off x="-519612" y="5334864"/>
            <a:ext cx="348915" cy="264695"/>
          </a:xfrm>
          <a:prstGeom prst="rect">
            <a:avLst/>
          </a:prstGeom>
          <a:solidFill>
            <a:srgbClr val="00CDCD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4922672-746D-4704-8B81-1FB955825B3E}"/>
              </a:ext>
            </a:extLst>
          </p:cNvPr>
          <p:cNvSpPr/>
          <p:nvPr userDrawn="1"/>
        </p:nvSpPr>
        <p:spPr>
          <a:xfrm>
            <a:off x="-519612" y="5668293"/>
            <a:ext cx="348915" cy="264695"/>
          </a:xfrm>
          <a:prstGeom prst="rect">
            <a:avLst/>
          </a:prstGeom>
          <a:solidFill>
            <a:srgbClr val="0BB9C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66326B-38E0-4706-BFD4-5F27585FD11E}"/>
              </a:ext>
            </a:extLst>
          </p:cNvPr>
          <p:cNvSpPr/>
          <p:nvPr userDrawn="1"/>
        </p:nvSpPr>
        <p:spPr>
          <a:xfrm>
            <a:off x="-519612" y="6001722"/>
            <a:ext cx="348915" cy="264695"/>
          </a:xfrm>
          <a:prstGeom prst="rect">
            <a:avLst/>
          </a:prstGeom>
          <a:solidFill>
            <a:srgbClr val="00839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780D55-AA96-4B98-9942-631D67B83F0B}"/>
              </a:ext>
            </a:extLst>
          </p:cNvPr>
          <p:cNvSpPr/>
          <p:nvPr userDrawn="1"/>
        </p:nvSpPr>
        <p:spPr>
          <a:xfrm>
            <a:off x="-519612" y="6335146"/>
            <a:ext cx="348915" cy="264695"/>
          </a:xfrm>
          <a:prstGeom prst="rect">
            <a:avLst/>
          </a:prstGeom>
          <a:solidFill>
            <a:srgbClr val="00618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715F03-52EB-4A28-A008-5E0BC2CAC15B}"/>
              </a:ext>
            </a:extLst>
          </p:cNvPr>
          <p:cNvSpPr/>
          <p:nvPr userDrawn="1"/>
        </p:nvSpPr>
        <p:spPr>
          <a:xfrm>
            <a:off x="146649" y="5805488"/>
            <a:ext cx="2863970" cy="879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8575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166">
          <p15:clr>
            <a:srgbClr val="FBAE40"/>
          </p15:clr>
        </p15:guide>
        <p15:guide id="4" pos="7514">
          <p15:clr>
            <a:srgbClr val="FBAE40"/>
          </p15:clr>
        </p15:guide>
        <p15:guide id="5" orient="horz" pos="142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595">
          <p15:clr>
            <a:srgbClr val="FBAE40"/>
          </p15:clr>
        </p15:guide>
        <p15:guide id="8" orient="horz" pos="4065">
          <p15:clr>
            <a:srgbClr val="FBAE40"/>
          </p15:clr>
        </p15:guide>
        <p15:guide id="9" orient="horz" pos="4133">
          <p15:clr>
            <a:srgbClr val="FBAE40"/>
          </p15:clr>
        </p15:guide>
        <p15:guide id="10" pos="3953">
          <p15:clr>
            <a:srgbClr val="FBAE40"/>
          </p15:clr>
        </p15:guide>
        <p15:guide id="11" pos="372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257175"/>
            <a:ext cx="9115425" cy="762000"/>
          </a:xfrm>
        </p:spPr>
        <p:txBody>
          <a:bodyPr anchor="ctr"/>
          <a:lstStyle>
            <a:lvl1pPr>
              <a:defRPr baseline="0">
                <a:latin typeface="Palatino Linotype" panose="02040502050505030304" pitchFamily="18" charset="0"/>
              </a:defRPr>
            </a:lvl1pPr>
          </a:lstStyle>
          <a:p>
            <a:r>
              <a:rPr lang="en-US"/>
              <a:t>Click to edit page title style</a:t>
            </a:r>
            <a:br>
              <a:rPr lang="en-US"/>
            </a:br>
            <a:r>
              <a:rPr lang="en-US"/>
              <a:t>on two lines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1475" y="1168400"/>
            <a:ext cx="9252027" cy="515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E9ECED-F820-4567-B11B-EBD491ACA532}"/>
              </a:ext>
            </a:extLst>
          </p:cNvPr>
          <p:cNvSpPr/>
          <p:nvPr userDrawn="1"/>
        </p:nvSpPr>
        <p:spPr>
          <a:xfrm>
            <a:off x="-567302" y="777663"/>
            <a:ext cx="369277" cy="334163"/>
          </a:xfrm>
          <a:prstGeom prst="rect">
            <a:avLst/>
          </a:prstGeom>
          <a:solidFill>
            <a:srgbClr val="2E30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DE4FCD-3EB8-4F21-8336-4AAE804C2ACE}"/>
              </a:ext>
            </a:extLst>
          </p:cNvPr>
          <p:cNvSpPr/>
          <p:nvPr userDrawn="1"/>
        </p:nvSpPr>
        <p:spPr>
          <a:xfrm>
            <a:off x="-567302" y="1884651"/>
            <a:ext cx="369277" cy="334163"/>
          </a:xfrm>
          <a:prstGeom prst="rect">
            <a:avLst/>
          </a:prstGeom>
          <a:solidFill>
            <a:srgbClr val="ED7D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A6A3F7-8089-4E4F-84CF-AD11FD2B71D6}"/>
              </a:ext>
            </a:extLst>
          </p:cNvPr>
          <p:cNvSpPr/>
          <p:nvPr userDrawn="1"/>
        </p:nvSpPr>
        <p:spPr>
          <a:xfrm>
            <a:off x="-567302" y="1146659"/>
            <a:ext cx="369277" cy="334163"/>
          </a:xfrm>
          <a:prstGeom prst="rect">
            <a:avLst/>
          </a:prstGeom>
          <a:solidFill>
            <a:srgbClr val="A6A7AA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1DF62A-DBEE-4DA7-8167-2FF6387E12C2}"/>
              </a:ext>
            </a:extLst>
          </p:cNvPr>
          <p:cNvSpPr/>
          <p:nvPr userDrawn="1"/>
        </p:nvSpPr>
        <p:spPr>
          <a:xfrm>
            <a:off x="-567302" y="2622643"/>
            <a:ext cx="369277" cy="334163"/>
          </a:xfrm>
          <a:prstGeom prst="rect">
            <a:avLst/>
          </a:prstGeom>
          <a:solidFill>
            <a:srgbClr val="0071BC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0A5356-FD18-4EE6-974C-E31C518D55FC}"/>
              </a:ext>
            </a:extLst>
          </p:cNvPr>
          <p:cNvSpPr/>
          <p:nvPr userDrawn="1"/>
        </p:nvSpPr>
        <p:spPr>
          <a:xfrm>
            <a:off x="-567302" y="2253647"/>
            <a:ext cx="369277" cy="334163"/>
          </a:xfrm>
          <a:prstGeom prst="rect">
            <a:avLst/>
          </a:prstGeom>
          <a:solidFill>
            <a:srgbClr val="F7930D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CA3921-3066-4D60-962F-B6E53FFF7F3E}"/>
              </a:ext>
            </a:extLst>
          </p:cNvPr>
          <p:cNvSpPr/>
          <p:nvPr userDrawn="1"/>
        </p:nvSpPr>
        <p:spPr>
          <a:xfrm>
            <a:off x="-567302" y="2991639"/>
            <a:ext cx="369277" cy="334163"/>
          </a:xfrm>
          <a:prstGeom prst="rect">
            <a:avLst/>
          </a:prstGeom>
          <a:solidFill>
            <a:srgbClr val="004D8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F1E088-F43D-4CC5-B8A6-06E83CD153CE}"/>
              </a:ext>
            </a:extLst>
          </p:cNvPr>
          <p:cNvSpPr/>
          <p:nvPr userDrawn="1"/>
        </p:nvSpPr>
        <p:spPr>
          <a:xfrm>
            <a:off x="-567302" y="5047860"/>
            <a:ext cx="369277" cy="334163"/>
          </a:xfrm>
          <a:prstGeom prst="rect">
            <a:avLst/>
          </a:prstGeom>
          <a:solidFill>
            <a:srgbClr val="E0EEF8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F09594-77A8-45C2-8F81-4F37E7DBE3B2}"/>
              </a:ext>
            </a:extLst>
          </p:cNvPr>
          <p:cNvSpPr/>
          <p:nvPr userDrawn="1"/>
        </p:nvSpPr>
        <p:spPr>
          <a:xfrm>
            <a:off x="-567302" y="1515655"/>
            <a:ext cx="369277" cy="334163"/>
          </a:xfrm>
          <a:prstGeom prst="rect">
            <a:avLst/>
          </a:prstGeom>
          <a:solidFill>
            <a:srgbClr val="EFEFE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FC07A-F52D-43F4-B2B7-42226CDF9624}"/>
              </a:ext>
            </a:extLst>
          </p:cNvPr>
          <p:cNvSpPr/>
          <p:nvPr userDrawn="1"/>
        </p:nvSpPr>
        <p:spPr>
          <a:xfrm>
            <a:off x="-839864" y="42078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Core Palett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462EC9-3F22-45F4-AB7C-0CB643808293}"/>
              </a:ext>
            </a:extLst>
          </p:cNvPr>
          <p:cNvSpPr/>
          <p:nvPr userDrawn="1"/>
        </p:nvSpPr>
        <p:spPr>
          <a:xfrm>
            <a:off x="-839864" y="3574283"/>
            <a:ext cx="91440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i="1">
                <a:solidFill>
                  <a:schemeClr val="tx1"/>
                </a:solidFill>
                <a:latin typeface="Century Gothic" panose="020B0502020202020204" pitchFamily="34" charset="0"/>
              </a:rPr>
              <a:t>Other Op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AB966E-A41F-4A20-A1B8-4DCC74245384}"/>
              </a:ext>
            </a:extLst>
          </p:cNvPr>
          <p:cNvSpPr/>
          <p:nvPr userDrawn="1"/>
        </p:nvSpPr>
        <p:spPr>
          <a:xfrm>
            <a:off x="-567302" y="4309868"/>
            <a:ext cx="369277" cy="334163"/>
          </a:xfrm>
          <a:prstGeom prst="rect">
            <a:avLst/>
          </a:prstGeom>
          <a:solidFill>
            <a:srgbClr val="62789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CE48D8-B656-43F4-AFD5-3331F61006CA}"/>
              </a:ext>
            </a:extLst>
          </p:cNvPr>
          <p:cNvSpPr/>
          <p:nvPr userDrawn="1"/>
        </p:nvSpPr>
        <p:spPr>
          <a:xfrm>
            <a:off x="-567302" y="4678864"/>
            <a:ext cx="369277" cy="334163"/>
          </a:xfrm>
          <a:prstGeom prst="rect">
            <a:avLst/>
          </a:prstGeom>
          <a:solidFill>
            <a:srgbClr val="70CED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C37F62-7496-4F54-97DB-D3DFAC47372A}"/>
              </a:ext>
            </a:extLst>
          </p:cNvPr>
          <p:cNvSpPr/>
          <p:nvPr userDrawn="1"/>
        </p:nvSpPr>
        <p:spPr>
          <a:xfrm>
            <a:off x="-567302" y="5416856"/>
            <a:ext cx="369277" cy="334163"/>
          </a:xfrm>
          <a:prstGeom prst="rect">
            <a:avLst/>
          </a:prstGeom>
          <a:solidFill>
            <a:srgbClr val="00743F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35B5BAE-B2F6-458F-B2B7-6A9A679F5B65}"/>
              </a:ext>
            </a:extLst>
          </p:cNvPr>
          <p:cNvSpPr/>
          <p:nvPr userDrawn="1"/>
        </p:nvSpPr>
        <p:spPr>
          <a:xfrm>
            <a:off x="-567302" y="6154848"/>
            <a:ext cx="369277" cy="334163"/>
          </a:xfrm>
          <a:prstGeom prst="rect">
            <a:avLst/>
          </a:prstGeom>
          <a:solidFill>
            <a:srgbClr val="A6200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62E8B68-1406-4FFB-B5CA-8C1B863ECFD6}"/>
              </a:ext>
            </a:extLst>
          </p:cNvPr>
          <p:cNvSpPr/>
          <p:nvPr userDrawn="1"/>
        </p:nvSpPr>
        <p:spPr>
          <a:xfrm>
            <a:off x="-567302" y="5785852"/>
            <a:ext cx="369277" cy="334163"/>
          </a:xfrm>
          <a:prstGeom prst="rect">
            <a:avLst/>
          </a:prstGeom>
          <a:solidFill>
            <a:srgbClr val="FBB804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276051-3BA0-4EEB-85F0-022B6DF06F55}"/>
              </a:ext>
            </a:extLst>
          </p:cNvPr>
          <p:cNvSpPr/>
          <p:nvPr userDrawn="1"/>
        </p:nvSpPr>
        <p:spPr>
          <a:xfrm>
            <a:off x="-567302" y="6523837"/>
            <a:ext cx="369277" cy="334163"/>
          </a:xfrm>
          <a:prstGeom prst="rect">
            <a:avLst/>
          </a:prstGeom>
          <a:solidFill>
            <a:srgbClr val="493A3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39267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4952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FFA0B-A779-4574-880D-A21139DD0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B9B5FE-EE5E-4734-B3D8-5B6F61733B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8A5AFF-90EC-4A89-AF78-37AA770F2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459F43-355C-4CC6-8AFB-DB1C95C4C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581B29-3D08-4FC1-851A-9B5B26070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6585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79817-76D7-4DEC-BAF9-5017052E1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42C36-4F20-40B0-BB27-DC3212623C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8FEB33-F33C-4AE6-93A2-8F924D3C6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9C1D9-A8F6-4444-8709-350D684D0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96F4EB-63AC-452E-AB07-70CE9BDB9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644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9E958-59BD-4027-B845-2FBBA68DF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D44CD-AF37-4194-9640-50D5C2613D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CE5500-C3DE-4060-84AD-C609C82EF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1C188-ADDA-4DA7-AF89-046CA8EC3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70ECB-01C5-4CCE-9DC9-2EBDCC054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176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722ED-5F18-4D65-BD63-570BB61AC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920128-EFA6-4DA0-87D4-C653348CCD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AA536C-B65B-40D9-9553-1855CBC2F6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5C383-BBF8-46C0-BC6C-2D703324F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1AA0E1-5BB4-46D0-8919-356FEB315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NTRAL TÉRMICA DE TEMAN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BFD66C-78CD-49A8-9267-D67CF3D5A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630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3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83819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DE752-763E-474E-B6D5-4AA85F770970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Palatino Linotype" panose="02040502050505030304" pitchFamily="18" charset="0"/>
              <a:ea typeface="+mj-ea"/>
              <a:cs typeface="+mj-cs"/>
              <a:sym typeface="Palatino Linotype" panose="02040502050505030304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8625" y="365125"/>
            <a:ext cx="95440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625" y="1825625"/>
            <a:ext cx="113061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5822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950" r:id="rId2"/>
    <p:sldLayoutId id="2147483964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Palatino Linotype" panose="02040502050505030304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200"/>
        </a:spcBef>
        <a:buFont typeface="Palatino Linotype" panose="02040502050505030304" pitchFamily="18" charset="0"/>
        <a:buChar char="-"/>
        <a:defRPr sz="11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200"/>
        </a:spcBef>
        <a:buFont typeface="Palatino Linotype" panose="02040502050505030304" pitchFamily="18" charset="0"/>
        <a:buChar char="-"/>
        <a:defRPr sz="9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35265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DE752-763E-474E-B6D5-4AA85F77097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Palatino Linotype" panose="02040502050505030304" pitchFamily="18" charset="0"/>
              <a:ea typeface="+mj-ea"/>
              <a:cs typeface="+mj-cs"/>
              <a:sym typeface="Palatino Linotype" panose="02040502050505030304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8625" y="365125"/>
            <a:ext cx="95440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625" y="1825625"/>
            <a:ext cx="113061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77589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965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Palatino Linotype" panose="02040502050505030304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200"/>
        </a:spcBef>
        <a:buFont typeface="Palatino Linotype" panose="02040502050505030304" pitchFamily="18" charset="0"/>
        <a:buChar char="-"/>
        <a:defRPr sz="11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2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200"/>
        </a:spcBef>
        <a:buFont typeface="Palatino Linotype" panose="02040502050505030304" pitchFamily="18" charset="0"/>
        <a:buChar char="-"/>
        <a:defRPr sz="900" kern="1200">
          <a:solidFill>
            <a:schemeClr val="tx1"/>
          </a:solidFill>
          <a:latin typeface="Palatino Linotype" panose="02040502050505030304" pitchFamily="18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136E8D3-3E1E-4378-9ABD-15BD425E4C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5236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6" imgH="343" progId="TCLayout.ActiveDocument.1">
                  <p:embed/>
                </p:oleObj>
              </mc:Choice>
              <mc:Fallback>
                <p:oleObj name="think-cell Slide" r:id="rId16" imgW="366" imgH="3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136E8D3-3E1E-4378-9ABD-15BD425E4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5293E5-041A-4123-BB50-423561B4A5E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628F6D-5C71-4F05-A7D6-EDF295E57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A7762F-A8FB-4E19-B90B-7C99EC81E5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9C311-015E-46B2-88AF-23FDA73EA8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BB429-E337-44CA-B61F-0E3990D6C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CENTRAL TÉRMICA DE TEMA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007122-1B85-4125-835C-13431FB768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1B6A7-09E1-44B7-911E-D6CECE8D5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4353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jpeg"/></Relationships>
</file>

<file path=ppt/slides/_rels/slide10.xml.rels><?xml version="1.0" encoding="UTF-8" standalone="yes" ?><Relationships xmlns="http://schemas.openxmlformats.org/package/2006/relationships"><Relationship Id="rId2" Target="../media/image30.jpeg" Type="http://schemas.openxmlformats.org/officeDocument/2006/relationships/image"/><Relationship Id="rId1" Target="../slideLayouts/slideLayout3.xml" Type="http://schemas.openxmlformats.org/officeDocument/2006/relationships/slideLayout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 ?><Relationships xmlns="http://schemas.openxmlformats.org/package/2006/relationships"><Relationship Id="rId8" Target="../media/image17.jpeg" Type="http://schemas.openxmlformats.org/officeDocument/2006/relationships/image"/><Relationship Id="rId13" Target="../media/image22.jpg" Type="http://schemas.openxmlformats.org/officeDocument/2006/relationships/image"/><Relationship Id="rId3" Target="../slideLayouts/slideLayout1.xml" Type="http://schemas.openxmlformats.org/officeDocument/2006/relationships/slideLayout"/><Relationship Id="rId7" Target="../media/image16.jpg" Type="http://schemas.openxmlformats.org/officeDocument/2006/relationships/image"/><Relationship Id="rId12" Target="../media/image21.jpg" Type="http://schemas.openxmlformats.org/officeDocument/2006/relationships/image"/><Relationship Id="rId17" Target="../media/image9.jpeg" Type="http://schemas.openxmlformats.org/officeDocument/2006/relationships/image"/><Relationship Id="rId2" Target="../tags/tag23.xml" Type="http://schemas.openxmlformats.org/officeDocument/2006/relationships/tags"/><Relationship Id="rId16" Target="../media/image25.jfif" Type="http://schemas.openxmlformats.org/officeDocument/2006/relationships/image"/><Relationship Id="rId1" Target="../tags/tag22.xml" Type="http://schemas.openxmlformats.org/officeDocument/2006/relationships/tags"/><Relationship Id="rId6" Target="../media/image2.emf" Type="http://schemas.openxmlformats.org/officeDocument/2006/relationships/image"/><Relationship Id="rId11" Target="../media/image20.png" Type="http://schemas.openxmlformats.org/officeDocument/2006/relationships/image"/><Relationship Id="rId5" Target="../embeddings/oleObject10.bin" Type="http://schemas.openxmlformats.org/officeDocument/2006/relationships/oleObject"/><Relationship Id="rId15" Target="../media/image24.png" Type="http://schemas.openxmlformats.org/officeDocument/2006/relationships/image"/><Relationship Id="rId10" Target="../media/image19.jpeg" Type="http://schemas.openxmlformats.org/officeDocument/2006/relationships/image"/><Relationship Id="rId4" Target="../notesSlides/notesSlide5.xml" Type="http://schemas.openxmlformats.org/officeDocument/2006/relationships/notesSlide"/><Relationship Id="rId9" Target="../media/image18.jpeg" Type="http://schemas.openxmlformats.org/officeDocument/2006/relationships/image"/><Relationship Id="rId14" Target="../media/image23.jpg" Type="http://schemas.openxmlformats.org/officeDocument/2006/relationships/image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jpe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 ?><Relationships xmlns="http://schemas.openxmlformats.org/package/2006/relationships"><Relationship Id="rId3" Target="../media/image26.jpeg" Type="http://schemas.openxmlformats.org/officeDocument/2006/relationships/image"/><Relationship Id="rId7" Target="../ink/ink1.xml" Type="http://schemas.openxmlformats.org/officeDocument/2006/relationships/customXml"/><Relationship Id="rId2" Target="../slideLayouts/slideLayout5.xml" Type="http://schemas.openxmlformats.org/officeDocument/2006/relationships/slideLayout"/><Relationship Id="rId29" Target="../media/image190.png" Type="http://schemas.openxmlformats.org/officeDocument/2006/relationships/image"/><Relationship Id="rId1" Target="../tags/tag26.xml" Type="http://schemas.openxmlformats.org/officeDocument/2006/relationships/tags"/><Relationship Id="rId6" Target="../media/hdphoto2.wdp" Type="http://schemas.microsoft.com/office/2007/relationships/hdphoto"/><Relationship Id="rId32" Target="../media/image9.jpeg" Type="http://schemas.openxmlformats.org/officeDocument/2006/relationships/image"/><Relationship Id="rId5" Target="../media/image27.jpeg" Type="http://schemas.openxmlformats.org/officeDocument/2006/relationships/image"/><Relationship Id="rId31" Target="../media/hdphoto3.wdp" Type="http://schemas.microsoft.com/office/2007/relationships/hdphoto"/><Relationship Id="rId4" Target="../media/hdphoto1.wdp" Type="http://schemas.microsoft.com/office/2007/relationships/hdphoto"/><Relationship Id="rId30" Target="../media/image28.jpeg" Type="http://schemas.openxmlformats.org/officeDocument/2006/relationships/image"/></Relationships>
</file>

<file path=ppt/slides/_rels/slide9.xml.rels><?xml version="1.0" encoding="UTF-8" standalone="yes" ?><Relationships xmlns="http://schemas.openxmlformats.org/package/2006/relationships"><Relationship Id="rId8" Target="../media/image29.jpeg" Type="http://schemas.openxmlformats.org/officeDocument/2006/relationships/image"/><Relationship Id="rId3" Target="../slideLayouts/slideLayout17.xml" Type="http://schemas.openxmlformats.org/officeDocument/2006/relationships/slideLayout"/><Relationship Id="rId7" Target="../media/image9.jpeg" Type="http://schemas.openxmlformats.org/officeDocument/2006/relationships/image"/><Relationship Id="rId2" Target="../tags/tag28.xml" Type="http://schemas.openxmlformats.org/officeDocument/2006/relationships/tags"/><Relationship Id="rId1" Target="../tags/tag27.xml" Type="http://schemas.openxmlformats.org/officeDocument/2006/relationships/tags"/><Relationship Id="rId6" Target="../media/image2.emf" Type="http://schemas.openxmlformats.org/officeDocument/2006/relationships/image"/><Relationship Id="rId5" Target="../embeddings/oleObject12.bin" Type="http://schemas.openxmlformats.org/officeDocument/2006/relationships/oleObject"/><Relationship Id="rId4" Target="../notesSlides/notesSlide7.xml" Type="http://schemas.openxmlformats.org/officeDocument/2006/relationships/notesSlid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76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65" imgH="565" progId="TCLayout.ActiveDocument.1">
                  <p:embed/>
                </p:oleObj>
              </mc:Choice>
              <mc:Fallback>
                <p:oleObj name="think-cell Slide" r:id="rId5" imgW="565" imgH="56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  <a:sym typeface="Palatino Linotype" panose="02040502050505030304" pitchFamily="18" charset="0"/>
            </a:endParaRPr>
          </a:p>
        </p:txBody>
      </p:sp>
      <p:pic>
        <p:nvPicPr>
          <p:cNvPr id="14" name="Image 2">
            <a:extLst>
              <a:ext uri="{FF2B5EF4-FFF2-40B4-BE49-F238E27FC236}">
                <a16:creationId xmlns:a16="http://schemas.microsoft.com/office/drawing/2014/main" id="{93E073B9-DBB9-46AC-8118-7B3AF1FE847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55" r="31177"/>
          <a:stretch/>
        </p:blipFill>
        <p:spPr>
          <a:xfrm>
            <a:off x="1447800" y="0"/>
            <a:ext cx="107442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527B1F-31D0-4F82-920E-7EEC291B68C6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63E8F6-2D0C-48F0-A3A9-91C6229038D4}"/>
              </a:ext>
            </a:extLst>
          </p:cNvPr>
          <p:cNvSpPr/>
          <p:nvPr/>
        </p:nvSpPr>
        <p:spPr>
          <a:xfrm>
            <a:off x="6078420" y="0"/>
            <a:ext cx="93784" cy="68580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C577DFEE-DB24-42A4-82A7-B4C852FF5831}"/>
              </a:ext>
            </a:extLst>
          </p:cNvPr>
          <p:cNvSpPr/>
          <p:nvPr/>
        </p:nvSpPr>
        <p:spPr>
          <a:xfrm flipH="1">
            <a:off x="9952891" y="4624753"/>
            <a:ext cx="2233122" cy="2233247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89BBF884-D147-48E1-95F8-0425DFA7D948}"/>
              </a:ext>
            </a:extLst>
          </p:cNvPr>
          <p:cNvSpPr/>
          <p:nvPr/>
        </p:nvSpPr>
        <p:spPr>
          <a:xfrm rot="10800000" flipH="1">
            <a:off x="0" y="0"/>
            <a:ext cx="2233122" cy="2233247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6E9BDAE-3A0C-4D4E-9762-6C0B3666F604}"/>
              </a:ext>
            </a:extLst>
          </p:cNvPr>
          <p:cNvSpPr txBox="1">
            <a:spLocks/>
          </p:cNvSpPr>
          <p:nvPr/>
        </p:nvSpPr>
        <p:spPr>
          <a:xfrm>
            <a:off x="416389" y="3352801"/>
            <a:ext cx="5201895" cy="1845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8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entury Gothic"/>
              </a:rPr>
              <a:t>Globeleq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/>
              </a:rPr>
              <a:t> and CTT </a:t>
            </a:r>
            <a:r>
              <a:rPr lang="en-US" sz="2800" b="1" dirty="0">
                <a:latin typeface="Century Gothic"/>
              </a:rPr>
              <a:t>Project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/>
              </a:rPr>
              <a:t>Overview</a:t>
            </a:r>
            <a:endParaRPr kumimoji="0" lang="en-ZA" sz="2800" b="0" i="1" u="none" strike="noStrike" kern="1200" cap="none" spc="0" normalizeH="0" baseline="0" noProof="0" dirty="0">
              <a:ln>
                <a:noFill/>
              </a:ln>
              <a:solidFill>
                <a:srgbClr val="A6A7AA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0" i="1" u="none" strike="noStrike" kern="1200" cap="none" spc="0" normalizeH="0" baseline="0" noProof="0" dirty="0">
              <a:ln>
                <a:noFill/>
              </a:ln>
              <a:solidFill>
                <a:srgbClr val="A6A7AA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sz="1800" b="1" dirty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800" b="1" dirty="0">
                <a:solidFill>
                  <a:srgbClr val="0070C0"/>
                </a:solidFill>
                <a:latin typeface="Century Gothic"/>
              </a:rPr>
              <a:t>September</a:t>
            </a:r>
            <a:r>
              <a:rPr kumimoji="0" lang="en-ZA" sz="1800" b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/>
              </a:rPr>
              <a:t> 2022</a:t>
            </a:r>
            <a:endParaRPr lang="en-ZA" sz="1800" b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/>
            </a:endParaRPr>
          </a:p>
        </p:txBody>
      </p:sp>
      <p:pic>
        <p:nvPicPr>
          <p:cNvPr id="10" name="Picture 2" descr="https://www.edm.co.mz/sites/default/files/logos/logo-edm.png">
            <a:extLst>
              <a:ext uri="{FF2B5EF4-FFF2-40B4-BE49-F238E27FC236}">
                <a16:creationId xmlns:a16="http://schemas.microsoft.com/office/drawing/2014/main" id="{69BCD2F9-DA0B-4066-AFA2-8845FA400D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860" y="6312070"/>
            <a:ext cx="1460898" cy="40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Image result for globeleq">
            <a:extLst>
              <a:ext uri="{FF2B5EF4-FFF2-40B4-BE49-F238E27FC236}">
                <a16:creationId xmlns:a16="http://schemas.microsoft.com/office/drawing/2014/main" id="{55F3E41D-71CF-4304-BC06-32582A0CF9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59289" y="6293084"/>
            <a:ext cx="1460896" cy="425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93" name="Picture 449" descr="Image result for sasol logo">
            <a:extLst>
              <a:ext uri="{FF2B5EF4-FFF2-40B4-BE49-F238E27FC236}">
                <a16:creationId xmlns:a16="http://schemas.microsoft.com/office/drawing/2014/main" id="{406883F8-4A1A-47B9-BC2B-F797C117CE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35338" y="6015387"/>
            <a:ext cx="680720" cy="8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C1EAC13D-56D4-462F-9414-000F0780D9A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47800" y="845796"/>
            <a:ext cx="3652511" cy="2583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59151"/>
      </p:ext>
    </p:extLst>
  </p:cSld>
  <p:clrMapOvr>
    <a:masterClrMapping/>
  </p:clrMapOvr>
</p:sld>
</file>

<file path=ppt/slides/slide1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8DD7E33-CC0F-4BAE-816B-F7F1B02B17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-12" r="11"/>
          <a:stretch/>
        </p:blipFill>
        <p:spPr>
          <a:xfrm>
            <a:off x="1074656" y="678730"/>
            <a:ext cx="9238268" cy="61792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F632CB7-E79C-44F7-8FE1-6BE833FF73A4}"/>
              </a:ext>
            </a:extLst>
          </p:cNvPr>
          <p:cNvSpPr txBox="1"/>
          <p:nvPr/>
        </p:nvSpPr>
        <p:spPr>
          <a:xfrm>
            <a:off x="612741" y="141401"/>
            <a:ext cx="10331777" cy="461665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r>
              <a:rPr b="1" dirty="0" lang="en-US" sz="2400">
                <a:solidFill>
                  <a:schemeClr val="accent2"/>
                </a:solidFill>
                <a:latin charset="0" panose="020B0502020202020204" pitchFamily="34" typeface="Century Gothic"/>
              </a:rPr>
              <a:t>MORE INFORMATION ABOUT OUR PROJECTS</a:t>
            </a:r>
            <a:r>
              <a:rPr dirty="0" lang="en-US" sz="2000">
                <a:latin charset="0" panose="020B0502020202020204" pitchFamily="34" typeface="Century Gothic"/>
              </a:rPr>
              <a:t>: https://www.globeleq.com/</a:t>
            </a:r>
          </a:p>
        </p:txBody>
      </p:sp>
    </p:spTree>
    <p:extLst>
      <p:ext uri="{BB962C8B-B14F-4D97-AF65-F5344CB8AC3E}">
        <p14:creationId xmlns:p14="http://schemas.microsoft.com/office/powerpoint/2010/main" val="2165588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65" imgH="565" progId="TCLayout.ActiveDocument.1">
                  <p:embed/>
                </p:oleObj>
              </mc:Choice>
              <mc:Fallback>
                <p:oleObj name="think-cell Slide" r:id="rId5" imgW="565" imgH="56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 Linotype" panose="02040502050505030304" pitchFamily="18" charset="0"/>
              <a:ea typeface="+mn-ea"/>
              <a:cs typeface="+mn-cs"/>
              <a:sym typeface="Palatino Linotype" panose="0204050205050503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A527B1F-31D0-4F82-920E-7EEC291B68C6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C577DFEE-DB24-42A4-82A7-B4C852FF5831}"/>
              </a:ext>
            </a:extLst>
          </p:cNvPr>
          <p:cNvSpPr/>
          <p:nvPr/>
        </p:nvSpPr>
        <p:spPr>
          <a:xfrm flipH="1">
            <a:off x="9952891" y="4624753"/>
            <a:ext cx="2233122" cy="2233247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89BBF884-D147-48E1-95F8-0425DFA7D948}"/>
              </a:ext>
            </a:extLst>
          </p:cNvPr>
          <p:cNvSpPr/>
          <p:nvPr/>
        </p:nvSpPr>
        <p:spPr>
          <a:xfrm rot="10800000" flipH="1">
            <a:off x="0" y="0"/>
            <a:ext cx="2233122" cy="2233247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6E9BDAE-3A0C-4D4E-9762-6C0B3666F604}"/>
              </a:ext>
            </a:extLst>
          </p:cNvPr>
          <p:cNvSpPr txBox="1">
            <a:spLocks/>
          </p:cNvSpPr>
          <p:nvPr/>
        </p:nvSpPr>
        <p:spPr>
          <a:xfrm>
            <a:off x="1161404" y="3429000"/>
            <a:ext cx="9624594" cy="2677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marL="6985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b="1" dirty="0" err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Obrigado</a:t>
            </a:r>
            <a:r>
              <a:rPr lang="en-ZA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!</a:t>
            </a:r>
            <a:endParaRPr kumimoji="0" lang="en-ZA" sz="3200" b="1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C1EAC13D-56D4-462F-9414-000F0780D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63009" y="87924"/>
            <a:ext cx="4221384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2734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65" imgH="565" progId="TCLayout.ActiveDocument.1">
                  <p:embed/>
                </p:oleObj>
              </mc:Choice>
              <mc:Fallback>
                <p:oleObj name="think-cell Slide" r:id="rId5" imgW="565" imgH="56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429B30-66D0-4A09-A207-05072A2BA391}"/>
              </a:ext>
            </a:extLst>
          </p:cNvPr>
          <p:cNvSpPr/>
          <p:nvPr/>
        </p:nvSpPr>
        <p:spPr>
          <a:xfrm>
            <a:off x="8403771" y="260103"/>
            <a:ext cx="3788229" cy="655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9D89E-AAAD-422F-841E-36F7C22E3348}"/>
              </a:ext>
            </a:extLst>
          </p:cNvPr>
          <p:cNvGrpSpPr/>
          <p:nvPr/>
        </p:nvGrpSpPr>
        <p:grpSpPr>
          <a:xfrm>
            <a:off x="489857" y="6321674"/>
            <a:ext cx="11232000" cy="36000"/>
            <a:chOff x="675616" y="6487884"/>
            <a:chExt cx="11088000" cy="3600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4F549FE-2087-4E79-905B-56013EE7CF2F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rect">
              <a:avLst/>
            </a:prstGeom>
            <a:solidFill>
              <a:srgbClr val="F99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lowchart: Data 38">
              <a:extLst>
                <a:ext uri="{FF2B5EF4-FFF2-40B4-BE49-F238E27FC236}">
                  <a16:creationId xmlns:a16="http://schemas.microsoft.com/office/drawing/2014/main" id="{976207C3-A9B6-4547-84FA-2B6A6CDD83B0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flowChartInputOutp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EAF26365-FF3C-4732-B8C0-B1775729099B}"/>
              </a:ext>
            </a:extLst>
          </p:cNvPr>
          <p:cNvSpPr txBox="1">
            <a:spLocks/>
          </p:cNvSpPr>
          <p:nvPr/>
        </p:nvSpPr>
        <p:spPr>
          <a:xfrm>
            <a:off x="1430890" y="576221"/>
            <a:ext cx="10797134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000" b="1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INDEX</a:t>
            </a: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3CF05B7B-457E-4D49-8453-3D70A0A600D5}"/>
              </a:ext>
            </a:extLst>
          </p:cNvPr>
          <p:cNvSpPr txBox="1">
            <a:spLocks/>
          </p:cNvSpPr>
          <p:nvPr/>
        </p:nvSpPr>
        <p:spPr>
          <a:xfrm>
            <a:off x="9016862" y="6365191"/>
            <a:ext cx="2743200" cy="2916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339CB-FA7A-4C6F-81A5-92ACFE46A00A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EFFBDCD4-C67C-4310-8746-0FB1B314BF80}"/>
              </a:ext>
            </a:extLst>
          </p:cNvPr>
          <p:cNvSpPr/>
          <p:nvPr/>
        </p:nvSpPr>
        <p:spPr>
          <a:xfrm rot="10800000" flipH="1">
            <a:off x="0" y="0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864D4107-DBCE-4BB4-A426-3ED65FAF1C2F}"/>
              </a:ext>
            </a:extLst>
          </p:cNvPr>
          <p:cNvSpPr/>
          <p:nvPr/>
        </p:nvSpPr>
        <p:spPr>
          <a:xfrm flipH="1">
            <a:off x="11691325" y="6373148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637FCE-24FB-46A8-8870-F1952B8FB40B}"/>
              </a:ext>
            </a:extLst>
          </p:cNvPr>
          <p:cNvSpPr/>
          <p:nvPr/>
        </p:nvSpPr>
        <p:spPr>
          <a:xfrm>
            <a:off x="1315482" y="1516912"/>
            <a:ext cx="9909902" cy="293862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400050" lvl="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en-US" sz="1600" dirty="0">
                <a:latin typeface="Century Gothic"/>
                <a:cs typeface="Times New Roman"/>
              </a:rPr>
              <a:t>Globeleq – 20 years  of operation</a:t>
            </a:r>
          </a:p>
          <a:p>
            <a:pPr marL="400050" lvl="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en-US" sz="1600" dirty="0">
                <a:latin typeface="Century Gothic"/>
                <a:cs typeface="Times New Roman"/>
              </a:rPr>
              <a:t>Our Presence</a:t>
            </a:r>
          </a:p>
          <a:p>
            <a:pPr marL="400050" lvl="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en-US" sz="1600" dirty="0">
                <a:latin typeface="Century Gothic"/>
                <a:cs typeface="Times New Roman"/>
              </a:rPr>
              <a:t>Project Overview</a:t>
            </a:r>
          </a:p>
          <a:p>
            <a:pPr marL="40005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en-ZA" sz="1600" dirty="0">
                <a:latin typeface="Century Gothic"/>
                <a:cs typeface="Times New Roman"/>
              </a:rPr>
              <a:t>Project Sponsors</a:t>
            </a:r>
          </a:p>
          <a:p>
            <a:pPr marL="400050" lvl="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en-ZA" sz="1600" dirty="0">
                <a:latin typeface="Century Gothic"/>
                <a:cs typeface="Times New Roman"/>
              </a:rPr>
              <a:t>What are Working Towards</a:t>
            </a:r>
            <a:endParaRPr lang="en-US" sz="1600" dirty="0">
              <a:latin typeface="Century Gothic"/>
              <a:cs typeface="Times New Roman"/>
            </a:endParaRPr>
          </a:p>
          <a:p>
            <a:pPr marL="400050" lvl="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pt-BR" sz="1600" dirty="0">
                <a:latin typeface="Century Gothic"/>
                <a:cs typeface="Times New Roman"/>
              </a:rPr>
              <a:t>CTT - </a:t>
            </a:r>
            <a:r>
              <a:rPr lang="en-GB" sz="1600" dirty="0">
                <a:latin typeface="Century Gothic"/>
                <a:cs typeface="Times New Roman"/>
              </a:rPr>
              <a:t>Infrastructure Synergies involved in the Project</a:t>
            </a:r>
            <a:endParaRPr lang="en-US" sz="1600" dirty="0">
              <a:latin typeface="Century Gothic"/>
              <a:cs typeface="Times New Roman"/>
            </a:endParaRPr>
          </a:p>
          <a:p>
            <a:pPr marL="400050" lvl="0" indent="-400050" algn="just">
              <a:lnSpc>
                <a:spcPct val="150000"/>
              </a:lnSpc>
              <a:spcAft>
                <a:spcPts val="400"/>
              </a:spcAft>
              <a:buClr>
                <a:schemeClr val="accent2"/>
              </a:buClr>
              <a:buFont typeface="+mj-lt"/>
              <a:buAutoNum type="romanUcPeriod"/>
              <a:defRPr/>
            </a:pPr>
            <a:r>
              <a:rPr lang="en-ZA" sz="1600" dirty="0">
                <a:latin typeface="Century Gothic"/>
                <a:cs typeface="Times New Roman"/>
              </a:rPr>
              <a:t>CTT Development Impact</a:t>
            </a:r>
            <a:r>
              <a:rPr lang="en-US" sz="1600" dirty="0">
                <a:latin typeface="Century Gothic"/>
                <a:cs typeface="Times New Roman"/>
              </a:rPr>
              <a:t>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40542" y="6381511"/>
            <a:ext cx="3180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CENTRAL TÉRMICA DE TEMANE</a:t>
            </a:r>
          </a:p>
        </p:txBody>
      </p:sp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C1EAC13D-56D4-462F-9414-000F0780D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857" y="6245780"/>
            <a:ext cx="750022" cy="530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329407"/>
      </p:ext>
    </p:extLst>
  </p:cSld>
  <p:clrMapOvr>
    <a:masterClrMapping/>
  </p:clrMapOvr>
</p:sld>
</file>

<file path=ppt/slides/slide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10" name="Object 9">
            <a:extLst>
              <a:ext uri="{FF2B5EF4-FFF2-40B4-BE49-F238E27FC236}">
                <a16:creationId xmlns:a16="http://schemas.microsoft.com/office/drawing/2014/main" id="{5DC113EB-535B-4AEB-BFB6-C6659EAE47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416" imgW="416" name="think-cell Slide" progId="TCLayout.ActiveDocument.1" r:id="rId4">
                  <p:embed/>
                </p:oleObj>
              </mc:Choice>
              <mc:Fallback>
                <p:oleObj imgH="416" imgW="416" name="think-cell Slide" progId="TCLayout.ActiveDocument.1" r:id="rId4">
                  <p:embed/>
                  <p:pic>
                    <p:nvPicPr>
                      <p:cNvPr hidden="1" id="10" name="Object 9">
                        <a:extLst>
                          <a:ext uri="{FF2B5EF4-FFF2-40B4-BE49-F238E27FC236}">
                            <a16:creationId xmlns:a16="http://schemas.microsoft.com/office/drawing/2014/main" id="{5DC113EB-535B-4AEB-BFB6-C6659EAE47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hidden="1" id="5" name="Rectangle 4">
            <a:extLst>
              <a:ext uri="{FF2B5EF4-FFF2-40B4-BE49-F238E27FC236}">
                <a16:creationId xmlns:a16="http://schemas.microsoft.com/office/drawing/2014/main" id="{7BC4601C-4D34-41C5-92A8-4CE273E008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en-GB" noProof="0" normalizeH="0" spc="0" strike="noStrike" sz="32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typeface="+mn-cs"/>
              <a:sym charset="0" panose="020B0502020202020204" pitchFamily="34" typeface="Century Gothic"/>
            </a:endParaRPr>
          </a:p>
        </p:txBody>
      </p:sp>
      <p:pic>
        <p:nvPicPr>
          <p:cNvPr descr="A person standing next to a factory&#10;&#10;Description automatically generated" id="23" name="Picture 22">
            <a:extLst>
              <a:ext uri="{FF2B5EF4-FFF2-40B4-BE49-F238E27FC236}">
                <a16:creationId xmlns:a16="http://schemas.microsoft.com/office/drawing/2014/main" id="{08429856-2FE5-4F9E-BD78-918EF63D545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3" l="69415" r="-37"/>
          <a:stretch/>
        </p:blipFill>
        <p:spPr>
          <a:xfrm>
            <a:off x="-1" y="965676"/>
            <a:ext cx="2890521" cy="5892324"/>
          </a:xfrm>
          <a:prstGeom prst="rect">
            <a:avLst/>
          </a:prstGeom>
        </p:spPr>
      </p:pic>
      <p:pic>
        <p:nvPicPr>
          <p:cNvPr descr="A person standing next to a factory&#10;&#10;Description automatically generated" id="19" name="Picture 18">
            <a:extLst>
              <a:ext uri="{FF2B5EF4-FFF2-40B4-BE49-F238E27FC236}">
                <a16:creationId xmlns:a16="http://schemas.microsoft.com/office/drawing/2014/main" id="{A00F90E4-ACA6-4CA6-9AF2-00AC5211ACC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1" r="-38"/>
          <a:stretch/>
        </p:blipFill>
        <p:spPr>
          <a:xfrm flipH="1">
            <a:off x="2826962" y="965677"/>
            <a:ext cx="9365038" cy="589232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44EB5FB-5D4F-464F-BABE-E895DAD8F856}"/>
              </a:ext>
            </a:extLst>
          </p:cNvPr>
          <p:cNvSpPr/>
          <p:nvPr/>
        </p:nvSpPr>
        <p:spPr>
          <a:xfrm>
            <a:off x="4235" y="0"/>
            <a:ext cx="12187765" cy="10972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121917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i="0" kern="1200" kumimoji="0" lang="en-ZA" noProof="0" normalizeH="0" spc="0" strike="noStrike" sz="24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B95E1F-2858-41F6-949A-3FFBA8BF8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21" y="223708"/>
            <a:ext cx="11424920" cy="732155"/>
          </a:xfrm>
        </p:spPr>
        <p:txBody>
          <a:bodyPr anchor="ctr"/>
          <a:lstStyle/>
          <a:p>
            <a:r>
              <a:rPr dirty="0" lang="en-GB">
                <a:latin charset="0" panose="020B0502020202020204" pitchFamily="34" typeface="Century Gothic"/>
              </a:rPr>
              <a:t>I. GLOBELEQ – 20 YEARS OF OP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5EB268-E64C-4CEC-848B-7794C0A38C92}"/>
              </a:ext>
            </a:extLst>
          </p:cNvPr>
          <p:cNvSpPr>
            <a:spLocks noGrp="1"/>
          </p:cNvSpPr>
          <p:nvPr>
            <p:ph idx="4294967295" sz="quarter" type="sldNum"/>
          </p:nvPr>
        </p:nvSpPr>
        <p:spPr>
          <a:xfrm>
            <a:off x="11437938" y="6356350"/>
            <a:ext cx="754062" cy="366713"/>
          </a:xfrm>
          <a:prstGeom prst="rect">
            <a:avLst/>
          </a:prstGeom>
        </p:spPr>
        <p:txBody>
          <a:bodyPr/>
          <a:lstStyle/>
          <a:p>
            <a:pPr algn="l" defTabSz="121917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4F85C-D2AB-4E68-914B-E193070B425E}" type="slidenum">
              <a:rPr b="0" baseline="0" cap="none" i="0" kern="1200" kumimoji="0" lang="en-GB" noProof="0" normalizeH="0" spc="0" strike="noStrike" sz="18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algn="l" defTabSz="121917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b="0" baseline="0" cap="none" dirty="0" i="0" kern="1200" kumimoji="0" lang="en-GB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ACE9897A-907D-4581-8EAA-2FCAD4E83DA8}"/>
              </a:ext>
            </a:extLst>
          </p:cNvPr>
          <p:cNvSpPr/>
          <p:nvPr/>
        </p:nvSpPr>
        <p:spPr>
          <a:xfrm>
            <a:off x="11412886" y="2585591"/>
            <a:ext cx="777672" cy="4290164"/>
          </a:xfrm>
          <a:custGeom>
            <a:avLst/>
            <a:gdLst>
              <a:gd fmla="*/ 0 w 1195251" name="connsiteX0"/>
              <a:gd fmla="*/ 0 h 3061377" name="connsiteY0"/>
              <a:gd fmla="*/ 1195251 w 1195251" name="connsiteX1"/>
              <a:gd fmla="*/ 0 h 3061377" name="connsiteY1"/>
              <a:gd fmla="*/ 1195251 w 1195251" name="connsiteX2"/>
              <a:gd fmla="*/ 3061377 h 3061377" name="connsiteY2"/>
              <a:gd fmla="*/ 0 w 1195251" name="connsiteX3"/>
              <a:gd fmla="*/ 3061377 h 3061377" name="connsiteY3"/>
              <a:gd fmla="*/ 0 w 1195251" name="connsiteX4"/>
              <a:gd fmla="*/ 0 h 3061377" name="connsiteY4"/>
              <a:gd fmla="*/ 0 w 1195251" name="connsiteX0"/>
              <a:gd fmla="*/ 3061377 h 3061377" name="connsiteY0"/>
              <a:gd fmla="*/ 1195251 w 1195251" name="connsiteX1"/>
              <a:gd fmla="*/ 0 h 3061377" name="connsiteY1"/>
              <a:gd fmla="*/ 1195251 w 1195251" name="connsiteX2"/>
              <a:gd fmla="*/ 3061377 h 3061377" name="connsiteY2"/>
              <a:gd fmla="*/ 0 w 1195251" name="connsiteX3"/>
              <a:gd fmla="*/ 3061377 h 3061377" name="connsiteY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b="b" l="l" r="r" t="t"/>
            <a:pathLst>
              <a:path h="3061377" w="1195251">
                <a:moveTo>
                  <a:pt x="0" y="3061377"/>
                </a:moveTo>
                <a:lnTo>
                  <a:pt x="1195251" y="0"/>
                </a:lnTo>
                <a:lnTo>
                  <a:pt x="1195251" y="3061377"/>
                </a:lnTo>
                <a:lnTo>
                  <a:pt x="0" y="3061377"/>
                </a:lnTo>
                <a:close/>
              </a:path>
            </a:pathLst>
          </a:custGeom>
          <a:solidFill>
            <a:srgbClr val="F89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516F2BD5-953A-4330-AA29-AD7EAC2A6EF0}"/>
              </a:ext>
            </a:extLst>
          </p:cNvPr>
          <p:cNvSpPr txBox="1">
            <a:spLocks/>
          </p:cNvSpPr>
          <p:nvPr/>
        </p:nvSpPr>
        <p:spPr>
          <a:xfrm>
            <a:off x="11438889" y="6481763"/>
            <a:ext cx="566305" cy="274637"/>
          </a:xfrm>
          <a:prstGeom prst="rect">
            <a:avLst/>
          </a:prstGeom>
        </p:spPr>
        <p:txBody>
          <a:bodyPr anchor="ctr" bIns="45720" lIns="91440" rIns="91440" rtlCol="0" tIns="45720" vert="horz"/>
          <a:lstStyle>
            <a:defPPr>
              <a:defRPr lang="en-US"/>
            </a:defPPr>
            <a:lvl1pPr algn="r" defTabSz="914400" eaLnBrk="1" hangingPunct="1" latinLnBrk="0" marL="0" rtl="0">
              <a:defRPr b="1" kern="1200" sz="16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latinLnBrk="0" marL="457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latinLnBrk="0" marL="914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latinLnBrk="0" marL="1371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latinLnBrk="0" marL="18288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4F85C-D2AB-4E68-914B-E193070B425E}" type="slidenum">
              <a:rPr b="1" baseline="0" cap="none" i="0" kern="1200" kumimoji="0" lang="en-GB" noProof="0" normalizeH="0" smtClean="0" spc="0" strike="noStrike" sz="10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algn="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b="1" baseline="0" cap="none" dirty="0" i="0" kern="1200" kumimoji="0" lang="en-GB" noProof="0" normalizeH="0" spc="0" strike="noStrike" sz="10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EC2C86-3D46-4536-ADBC-94928C11FDFD}"/>
              </a:ext>
            </a:extLst>
          </p:cNvPr>
          <p:cNvSpPr/>
          <p:nvPr/>
        </p:nvSpPr>
        <p:spPr>
          <a:xfrm>
            <a:off x="-1" y="1090800"/>
            <a:ext cx="7439488" cy="5767200"/>
          </a:xfrm>
          <a:custGeom>
            <a:avLst/>
            <a:gdLst>
              <a:gd fmla="*/ 0 w 9272112" name="connsiteX0"/>
              <a:gd fmla="*/ 0 h 5892323" name="connsiteY0"/>
              <a:gd fmla="*/ 9272112 w 9272112" name="connsiteX1"/>
              <a:gd fmla="*/ 0 h 5892323" name="connsiteY1"/>
              <a:gd fmla="*/ 9272112 w 9272112" name="connsiteX2"/>
              <a:gd fmla="*/ 5892323 h 5892323" name="connsiteY2"/>
              <a:gd fmla="*/ 0 w 9272112" name="connsiteX3"/>
              <a:gd fmla="*/ 5892323 h 5892323" name="connsiteY3"/>
              <a:gd fmla="*/ 0 w 9272112" name="connsiteX4"/>
              <a:gd fmla="*/ 0 h 5892323" name="connsiteY4"/>
              <a:gd fmla="*/ 0 w 9272112" name="connsiteX0"/>
              <a:gd fmla="*/ 0 h 5892323" name="connsiteY0"/>
              <a:gd fmla="*/ 9272112 w 9272112" name="connsiteX1"/>
              <a:gd fmla="*/ 0 h 5892323" name="connsiteY1"/>
              <a:gd fmla="*/ 7419249 w 9272112" name="connsiteX2"/>
              <a:gd fmla="*/ 5892323 h 5892323" name="connsiteY2"/>
              <a:gd fmla="*/ 0 w 9272112" name="connsiteX3"/>
              <a:gd fmla="*/ 5892323 h 5892323" name="connsiteY3"/>
              <a:gd fmla="*/ 0 w 9272112" name="connsiteX4"/>
              <a:gd fmla="*/ 0 h 5892323" name="connsiteY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b="b" l="l" r="r" t="t"/>
            <a:pathLst>
              <a:path h="5892323" w="9272112">
                <a:moveTo>
                  <a:pt x="0" y="0"/>
                </a:moveTo>
                <a:lnTo>
                  <a:pt x="9272112" y="0"/>
                </a:lnTo>
                <a:lnTo>
                  <a:pt x="7419249" y="5892323"/>
                </a:lnTo>
                <a:lnTo>
                  <a:pt x="0" y="5892323"/>
                </a:lnTo>
                <a:lnTo>
                  <a:pt x="0" y="0"/>
                </a:lnTo>
                <a:close/>
              </a:path>
            </a:pathLst>
          </a:custGeom>
          <a:solidFill>
            <a:srgbClr val="F89921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784A67-CE13-437A-BB87-51D17A9D420F}"/>
              </a:ext>
            </a:extLst>
          </p:cNvPr>
          <p:cNvSpPr>
            <a:spLocks noGrp="1"/>
          </p:cNvSpPr>
          <p:nvPr>
            <p:ph idx="11" sz="quarter" type="body"/>
          </p:nvPr>
        </p:nvSpPr>
        <p:spPr>
          <a:xfrm>
            <a:off x="-16044" y="1119677"/>
            <a:ext cx="6112044" cy="5561567"/>
          </a:xfrm>
        </p:spPr>
        <p:txBody>
          <a:bodyPr/>
          <a:lstStyle/>
          <a:p>
            <a:pPr algn="just" indent="0" marL="273050">
              <a:buNone/>
            </a:pPr>
            <a:r>
              <a:rPr b="1" dirty="0" lang="en-GB" sz="1600">
                <a:solidFill>
                  <a:schemeClr val="bg1"/>
                </a:solidFill>
                <a:latin charset="0" panose="020B0502020202020204" pitchFamily="34" typeface="Century Gothic"/>
              </a:rPr>
              <a:t>Globeleq is a leading investor, developer, owner and operator of a diversified energy portfolio in Africa.</a:t>
            </a:r>
          </a:p>
          <a:p>
            <a:pPr algn="just" indent="-303213" marL="303213">
              <a:spcBef>
                <a:spcPts val="600"/>
              </a:spcBef>
              <a:buClr>
                <a:schemeClr val="bg1">
                  <a:lumMod val="95000"/>
                </a:schemeClr>
              </a:buClr>
              <a:buFont charset="0" panose="020B0604020202020204" pitchFamily="34" typeface="Arial"/>
              <a:buChar char="•"/>
            </a:pP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Supported by our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shareholders, BII – British International Investment and Norfund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, Globeleq aims to play a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transformational role 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on the continent     by addressing Africa’s need for cost effective power and maximising our positive impact.</a:t>
            </a:r>
          </a:p>
          <a:p>
            <a:pPr algn="just" indent="-303213" marL="303213">
              <a:spcBef>
                <a:spcPts val="600"/>
              </a:spcBef>
              <a:buClr>
                <a:schemeClr val="bg1">
                  <a:lumMod val="95000"/>
                </a:schemeClr>
              </a:buClr>
              <a:buFont charset="0" panose="020B0604020202020204" pitchFamily="34" typeface="Arial"/>
              <a:buChar char="•"/>
            </a:pP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Globeleq has </a:t>
            </a:r>
            <a:r>
              <a:rPr b="1" dirty="0" lang="en-GB" sz="1400">
                <a:solidFill>
                  <a:schemeClr val="bg1"/>
                </a:solidFill>
                <a:latin charset="0" panose="020B0502020202020204" pitchFamily="34" typeface="Century Gothic"/>
              </a:rPr>
              <a:t>nearly 1,500 MW of power generation in operation </a:t>
            </a:r>
            <a:r>
              <a:rPr dirty="0" lang="en-GB" sz="1400">
                <a:solidFill>
                  <a:schemeClr val="bg1"/>
                </a:solidFill>
                <a:latin charset="0" panose="020B0502020202020204" pitchFamily="34" typeface="Century Gothic"/>
              </a:rPr>
              <a:t>across 14 projects in 6 countries, with a further </a:t>
            </a:r>
            <a:r>
              <a:rPr b="1" dirty="0" lang="en-GB" sz="1400">
                <a:solidFill>
                  <a:schemeClr val="bg1"/>
                </a:solidFill>
                <a:latin charset="0" panose="020B0502020202020204" pitchFamily="34" typeface="Century Gothic"/>
              </a:rPr>
              <a:t>722 MW in construction </a:t>
            </a:r>
            <a:r>
              <a:rPr dirty="0" lang="en-GB" sz="1400">
                <a:solidFill>
                  <a:schemeClr val="bg1"/>
                </a:solidFill>
                <a:latin charset="0" panose="020B0502020202020204" pitchFamily="34" typeface="Century Gothic"/>
              </a:rPr>
              <a:t>and </a:t>
            </a:r>
            <a:r>
              <a:rPr b="1" dirty="0" lang="en-GB" sz="1400">
                <a:solidFill>
                  <a:schemeClr val="bg1"/>
                </a:solidFill>
                <a:latin charset="0" panose="020B0502020202020204" pitchFamily="34" typeface="Century Gothic"/>
              </a:rPr>
              <a:t>&gt;2,000 MW in development</a:t>
            </a:r>
            <a:r>
              <a:rPr dirty="0" lang="en-GB" sz="1400">
                <a:solidFill>
                  <a:schemeClr val="bg1"/>
                </a:solidFill>
                <a:latin charset="0" panose="020B0502020202020204" pitchFamily="34" typeface="Century Gothic"/>
              </a:rPr>
              <a:t>.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 </a:t>
            </a:r>
          </a:p>
          <a:p>
            <a:pPr algn="just" indent="-303213" marL="303213">
              <a:spcBef>
                <a:spcPts val="600"/>
              </a:spcBef>
              <a:buClr>
                <a:schemeClr val="bg1">
                  <a:lumMod val="95000"/>
                </a:schemeClr>
              </a:buClr>
              <a:buFont charset="0" panose="020B0604020202020204" pitchFamily="34" typeface="Arial"/>
              <a:buChar char="•"/>
            </a:pP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We have a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proven track record 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of operations and project development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since 2002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, and support the ongoing development of the African power sector. 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We work closely with our partners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 to adapt and respond to their unique needs.</a:t>
            </a:r>
          </a:p>
          <a:p>
            <a:pPr algn="just" indent="-303213" marL="303213">
              <a:spcBef>
                <a:spcPts val="600"/>
              </a:spcBef>
              <a:buClr>
                <a:schemeClr val="bg1">
                  <a:lumMod val="95000"/>
                </a:schemeClr>
              </a:buClr>
              <a:buFont charset="0" panose="020B0604020202020204" pitchFamily="34" typeface="Arial"/>
              <a:buChar char="•"/>
            </a:pP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Our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in-house teams 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have extensive experience and networks to implement power solutions across various technologies and geographies to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optimise both the technical performance and commercial value  proposition for  each project.</a:t>
            </a:r>
          </a:p>
          <a:p>
            <a:pPr algn="just" indent="-303213" marL="303213">
              <a:spcBef>
                <a:spcPts val="600"/>
              </a:spcBef>
              <a:buClr>
                <a:schemeClr val="bg1">
                  <a:lumMod val="95000"/>
                </a:schemeClr>
              </a:buClr>
              <a:buFont charset="0" panose="020B0604020202020204" pitchFamily="34" typeface="Arial"/>
              <a:buChar char="•"/>
            </a:pP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We can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rapidly localize our operations</a:t>
            </a:r>
            <a:r>
              <a:rPr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, leveraging our teams to build local capacity as needed. We operate our plants to </a:t>
            </a:r>
            <a:r>
              <a:rPr b="1" dirty="0" lang="en-GB" sz="1300">
                <a:solidFill>
                  <a:schemeClr val="bg1"/>
                </a:solidFill>
                <a:latin charset="0" panose="020B0502020202020204" pitchFamily="34" typeface="Century Gothic"/>
              </a:rPr>
              <a:t>international performance and safety standards.  </a:t>
            </a:r>
          </a:p>
          <a:p>
            <a:pPr algn="just" indent="0" marL="0">
              <a:buNone/>
            </a:pPr>
            <a:endParaRPr b="1" dirty="0" lang="en-GB" sz="13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2687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04E7BC-F638-45EF-8BD0-E0A255A3DE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6" imgH="343" progId="TCLayout.ActiveDocument.1">
                  <p:embed/>
                </p:oleObj>
              </mc:Choice>
              <mc:Fallback>
                <p:oleObj name="think-cell Slide" r:id="rId5" imgW="366" imgH="34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04E7BC-F638-45EF-8BD0-E0A255A3DE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5413982F-ED4B-4457-AF24-7E7BB00F2B0A}"/>
              </a:ext>
            </a:extLst>
          </p:cNvPr>
          <p:cNvSpPr/>
          <p:nvPr/>
        </p:nvSpPr>
        <p:spPr>
          <a:xfrm>
            <a:off x="6253054" y="3806226"/>
            <a:ext cx="479793" cy="81265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AE3BD0-DFD1-4FB5-A3C4-43D53F3E8D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21" y="17291"/>
            <a:ext cx="11424920" cy="732155"/>
          </a:xfrm>
        </p:spPr>
        <p:txBody>
          <a:bodyPr vert="horz" anchor="ctr"/>
          <a:lstStyle/>
          <a:p>
            <a:r>
              <a:rPr lang="en-US" dirty="0">
                <a:latin typeface="Century Gothic" panose="020B0502020202020204" pitchFamily="34" charset="0"/>
              </a:rPr>
              <a:t>II. GLOBELEQ - OUR LOCATION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C7B8E40-412B-4251-9E3E-265CE4D1F837}"/>
              </a:ext>
            </a:extLst>
          </p:cNvPr>
          <p:cNvGrpSpPr/>
          <p:nvPr/>
        </p:nvGrpSpPr>
        <p:grpSpPr>
          <a:xfrm>
            <a:off x="8433228" y="350587"/>
            <a:ext cx="3447473" cy="2179857"/>
            <a:chOff x="8575497" y="191563"/>
            <a:chExt cx="3194343" cy="1909550"/>
          </a:xfrm>
        </p:grpSpPr>
        <p:grpSp>
          <p:nvGrpSpPr>
            <p:cNvPr id="645" name="Group 644">
              <a:extLst>
                <a:ext uri="{FF2B5EF4-FFF2-40B4-BE49-F238E27FC236}">
                  <a16:creationId xmlns:a16="http://schemas.microsoft.com/office/drawing/2014/main" id="{6265A019-556E-4832-AD20-E670A477EB63}"/>
                </a:ext>
              </a:extLst>
            </p:cNvPr>
            <p:cNvGrpSpPr/>
            <p:nvPr/>
          </p:nvGrpSpPr>
          <p:grpSpPr>
            <a:xfrm>
              <a:off x="8757918" y="604148"/>
              <a:ext cx="2731632" cy="1496965"/>
              <a:chOff x="6930714" y="2087882"/>
              <a:chExt cx="2597422" cy="1434491"/>
            </a:xfrm>
          </p:grpSpPr>
          <p:sp>
            <p:nvSpPr>
              <p:cNvPr id="628" name="Rectangle 627">
                <a:extLst>
                  <a:ext uri="{FF2B5EF4-FFF2-40B4-BE49-F238E27FC236}">
                    <a16:creationId xmlns:a16="http://schemas.microsoft.com/office/drawing/2014/main" id="{A608CEEA-A1D4-4836-9B72-0BCFC32FEC46}"/>
                  </a:ext>
                </a:extLst>
              </p:cNvPr>
              <p:cNvSpPr/>
              <p:nvPr/>
            </p:nvSpPr>
            <p:spPr>
              <a:xfrm>
                <a:off x="6930714" y="2087882"/>
                <a:ext cx="2590107" cy="1434491"/>
              </a:xfrm>
              <a:prstGeom prst="rect">
                <a:avLst/>
              </a:prstGeom>
              <a:noFill/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629" name="Picture 628" descr="A picture containing light&#10;&#10;Description automatically generated">
                <a:extLst>
                  <a:ext uri="{FF2B5EF4-FFF2-40B4-BE49-F238E27FC236}">
                    <a16:creationId xmlns:a16="http://schemas.microsoft.com/office/drawing/2014/main" id="{88C48362-E753-4DC2-BEA2-9933688D69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69868" y="2330822"/>
                <a:ext cx="288000" cy="288000"/>
              </a:xfrm>
              <a:prstGeom prst="rect">
                <a:avLst/>
              </a:prstGeom>
            </p:spPr>
          </p:pic>
          <p:pic>
            <p:nvPicPr>
              <p:cNvPr id="630" name="Picture 629">
                <a:extLst>
                  <a:ext uri="{FF2B5EF4-FFF2-40B4-BE49-F238E27FC236}">
                    <a16:creationId xmlns:a16="http://schemas.microsoft.com/office/drawing/2014/main" id="{FF0D8E8E-BE08-40DC-8451-30A06B1CBA1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email">
                <a:clrChange>
                  <a:clrFrom>
                    <a:srgbClr val="E7E7E8"/>
                  </a:clrFrom>
                  <a:clrTo>
                    <a:srgbClr val="E7E7E8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990043" y="2592741"/>
                <a:ext cx="247650" cy="257175"/>
              </a:xfrm>
              <a:prstGeom prst="rect">
                <a:avLst/>
              </a:prstGeom>
            </p:spPr>
          </p:pic>
          <p:pic>
            <p:nvPicPr>
              <p:cNvPr id="631" name="Picture 630">
                <a:extLst>
                  <a:ext uri="{FF2B5EF4-FFF2-40B4-BE49-F238E27FC236}">
                    <a16:creationId xmlns:a16="http://schemas.microsoft.com/office/drawing/2014/main" id="{F1B5971E-7820-41C8-A262-67F804C6DEC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clrChange>
                  <a:clrFrom>
                    <a:srgbClr val="E7E7E8"/>
                  </a:clrFrom>
                  <a:clrTo>
                    <a:srgbClr val="E7E7E8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009764" y="2823835"/>
                <a:ext cx="208209" cy="216000"/>
              </a:xfrm>
              <a:prstGeom prst="rect">
                <a:avLst/>
              </a:prstGeom>
            </p:spPr>
          </p:pic>
          <p:pic>
            <p:nvPicPr>
              <p:cNvPr id="632" name="Picture 631">
                <a:extLst>
                  <a:ext uri="{FF2B5EF4-FFF2-40B4-BE49-F238E27FC236}">
                    <a16:creationId xmlns:a16="http://schemas.microsoft.com/office/drawing/2014/main" id="{CC45B400-09E1-4FA8-9DC6-83D03C17CC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clrChange>
                  <a:clrFrom>
                    <a:srgbClr val="E7E7E8"/>
                  </a:clrFrom>
                  <a:clrTo>
                    <a:srgbClr val="E7E7E8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981613" y="3005803"/>
                <a:ext cx="264511" cy="244755"/>
              </a:xfrm>
              <a:prstGeom prst="rect">
                <a:avLst/>
              </a:prstGeom>
            </p:spPr>
          </p:pic>
          <p:sp>
            <p:nvSpPr>
              <p:cNvPr id="633" name="Rectangle 632">
                <a:extLst>
                  <a:ext uri="{FF2B5EF4-FFF2-40B4-BE49-F238E27FC236}">
                    <a16:creationId xmlns:a16="http://schemas.microsoft.com/office/drawing/2014/main" id="{1FAB8CE6-353C-4A1A-8DD1-6CA96701A972}"/>
                  </a:ext>
                </a:extLst>
              </p:cNvPr>
              <p:cNvSpPr/>
              <p:nvPr/>
            </p:nvSpPr>
            <p:spPr>
              <a:xfrm>
                <a:off x="7032933" y="2139769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Location Type</a:t>
                </a:r>
                <a:endPara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634" name="Freeform 51">
                <a:extLst>
                  <a:ext uri="{FF2B5EF4-FFF2-40B4-BE49-F238E27FC236}">
                    <a16:creationId xmlns:a16="http://schemas.microsoft.com/office/drawing/2014/main" id="{042CCA06-4998-437F-A3CC-FF1F2E2E04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23868" y="3264231"/>
                <a:ext cx="180000" cy="180000"/>
              </a:xfrm>
              <a:custGeom>
                <a:avLst/>
                <a:gdLst>
                  <a:gd name="T0" fmla="*/ 1613 w 3750"/>
                  <a:gd name="T1" fmla="*/ 2844 h 3108"/>
                  <a:gd name="T2" fmla="*/ 2171 w 3750"/>
                  <a:gd name="T3" fmla="*/ 2883 h 3108"/>
                  <a:gd name="T4" fmla="*/ 2184 w 3750"/>
                  <a:gd name="T5" fmla="*/ 2315 h 3108"/>
                  <a:gd name="T6" fmla="*/ 2893 w 3750"/>
                  <a:gd name="T7" fmla="*/ 2222 h 3108"/>
                  <a:gd name="T8" fmla="*/ 2907 w 3750"/>
                  <a:gd name="T9" fmla="*/ 2615 h 3108"/>
                  <a:gd name="T10" fmla="*/ 3288 w 3750"/>
                  <a:gd name="T11" fmla="*/ 2575 h 3108"/>
                  <a:gd name="T12" fmla="*/ 2924 w 3750"/>
                  <a:gd name="T13" fmla="*/ 2210 h 3108"/>
                  <a:gd name="T14" fmla="*/ 460 w 3750"/>
                  <a:gd name="T15" fmla="*/ 2575 h 3108"/>
                  <a:gd name="T16" fmla="*/ 841 w 3750"/>
                  <a:gd name="T17" fmla="*/ 2615 h 3108"/>
                  <a:gd name="T18" fmla="*/ 855 w 3750"/>
                  <a:gd name="T19" fmla="*/ 2222 h 3108"/>
                  <a:gd name="T20" fmla="*/ 2893 w 3750"/>
                  <a:gd name="T21" fmla="*/ 1677 h 3108"/>
                  <a:gd name="T22" fmla="*/ 2907 w 3750"/>
                  <a:gd name="T23" fmla="*/ 2069 h 3108"/>
                  <a:gd name="T24" fmla="*/ 3288 w 3750"/>
                  <a:gd name="T25" fmla="*/ 2029 h 3108"/>
                  <a:gd name="T26" fmla="*/ 2924 w 3750"/>
                  <a:gd name="T27" fmla="*/ 1665 h 3108"/>
                  <a:gd name="T28" fmla="*/ 460 w 3750"/>
                  <a:gd name="T29" fmla="*/ 2029 h 3108"/>
                  <a:gd name="T30" fmla="*/ 841 w 3750"/>
                  <a:gd name="T31" fmla="*/ 2069 h 3108"/>
                  <a:gd name="T32" fmla="*/ 855 w 3750"/>
                  <a:gd name="T33" fmla="*/ 1677 h 3108"/>
                  <a:gd name="T34" fmla="*/ 2076 w 3750"/>
                  <a:gd name="T35" fmla="*/ 1667 h 3108"/>
                  <a:gd name="T36" fmla="*/ 2090 w 3750"/>
                  <a:gd name="T37" fmla="*/ 2059 h 3108"/>
                  <a:gd name="T38" fmla="*/ 2471 w 3750"/>
                  <a:gd name="T39" fmla="*/ 2020 h 3108"/>
                  <a:gd name="T40" fmla="*/ 2107 w 3750"/>
                  <a:gd name="T41" fmla="*/ 1654 h 3108"/>
                  <a:gd name="T42" fmla="*/ 1332 w 3750"/>
                  <a:gd name="T43" fmla="*/ 2020 h 3108"/>
                  <a:gd name="T44" fmla="*/ 1713 w 3750"/>
                  <a:gd name="T45" fmla="*/ 2059 h 3108"/>
                  <a:gd name="T46" fmla="*/ 1726 w 3750"/>
                  <a:gd name="T47" fmla="*/ 1667 h 3108"/>
                  <a:gd name="T48" fmla="*/ 2076 w 3750"/>
                  <a:gd name="T49" fmla="*/ 1121 h 3108"/>
                  <a:gd name="T50" fmla="*/ 2090 w 3750"/>
                  <a:gd name="T51" fmla="*/ 1514 h 3108"/>
                  <a:gd name="T52" fmla="*/ 2471 w 3750"/>
                  <a:gd name="T53" fmla="*/ 1474 h 3108"/>
                  <a:gd name="T54" fmla="*/ 2107 w 3750"/>
                  <a:gd name="T55" fmla="*/ 1109 h 3108"/>
                  <a:gd name="T56" fmla="*/ 1332 w 3750"/>
                  <a:gd name="T57" fmla="*/ 1474 h 3108"/>
                  <a:gd name="T58" fmla="*/ 1713 w 3750"/>
                  <a:gd name="T59" fmla="*/ 1514 h 3108"/>
                  <a:gd name="T60" fmla="*/ 1726 w 3750"/>
                  <a:gd name="T61" fmla="*/ 1121 h 3108"/>
                  <a:gd name="T62" fmla="*/ 2893 w 3750"/>
                  <a:gd name="T63" fmla="*/ 1112 h 3108"/>
                  <a:gd name="T64" fmla="*/ 2907 w 3750"/>
                  <a:gd name="T65" fmla="*/ 1504 h 3108"/>
                  <a:gd name="T66" fmla="*/ 3288 w 3750"/>
                  <a:gd name="T67" fmla="*/ 1465 h 3108"/>
                  <a:gd name="T68" fmla="*/ 2924 w 3750"/>
                  <a:gd name="T69" fmla="*/ 1099 h 3108"/>
                  <a:gd name="T70" fmla="*/ 460 w 3750"/>
                  <a:gd name="T71" fmla="*/ 1465 h 3108"/>
                  <a:gd name="T72" fmla="*/ 841 w 3750"/>
                  <a:gd name="T73" fmla="*/ 1504 h 3108"/>
                  <a:gd name="T74" fmla="*/ 855 w 3750"/>
                  <a:gd name="T75" fmla="*/ 1112 h 3108"/>
                  <a:gd name="T76" fmla="*/ 2076 w 3750"/>
                  <a:gd name="T77" fmla="*/ 557 h 3108"/>
                  <a:gd name="T78" fmla="*/ 2090 w 3750"/>
                  <a:gd name="T79" fmla="*/ 949 h 3108"/>
                  <a:gd name="T80" fmla="*/ 2471 w 3750"/>
                  <a:gd name="T81" fmla="*/ 909 h 3108"/>
                  <a:gd name="T82" fmla="*/ 2107 w 3750"/>
                  <a:gd name="T83" fmla="*/ 544 h 3108"/>
                  <a:gd name="T84" fmla="*/ 1332 w 3750"/>
                  <a:gd name="T85" fmla="*/ 909 h 3108"/>
                  <a:gd name="T86" fmla="*/ 1713 w 3750"/>
                  <a:gd name="T87" fmla="*/ 949 h 3108"/>
                  <a:gd name="T88" fmla="*/ 1726 w 3750"/>
                  <a:gd name="T89" fmla="*/ 557 h 3108"/>
                  <a:gd name="T90" fmla="*/ 2787 w 3750"/>
                  <a:gd name="T91" fmla="*/ 2 h 3108"/>
                  <a:gd name="T92" fmla="*/ 2820 w 3750"/>
                  <a:gd name="T93" fmla="*/ 165 h 3108"/>
                  <a:gd name="T94" fmla="*/ 2761 w 3750"/>
                  <a:gd name="T95" fmla="*/ 204 h 3108"/>
                  <a:gd name="T96" fmla="*/ 2754 w 3750"/>
                  <a:gd name="T97" fmla="*/ 620 h 3108"/>
                  <a:gd name="T98" fmla="*/ 2779 w 3750"/>
                  <a:gd name="T99" fmla="*/ 645 h 3108"/>
                  <a:gd name="T100" fmla="*/ 3621 w 3750"/>
                  <a:gd name="T101" fmla="*/ 716 h 3108"/>
                  <a:gd name="T102" fmla="*/ 3629 w 3750"/>
                  <a:gd name="T103" fmla="*/ 2878 h 3108"/>
                  <a:gd name="T104" fmla="*/ 3728 w 3750"/>
                  <a:gd name="T105" fmla="*/ 2899 h 3108"/>
                  <a:gd name="T106" fmla="*/ 3739 w 3750"/>
                  <a:gd name="T107" fmla="*/ 3087 h 3108"/>
                  <a:gd name="T108" fmla="*/ 22 w 3750"/>
                  <a:gd name="T109" fmla="*/ 3098 h 3108"/>
                  <a:gd name="T110" fmla="*/ 10 w 3750"/>
                  <a:gd name="T111" fmla="*/ 2912 h 3108"/>
                  <a:gd name="T112" fmla="*/ 112 w 3750"/>
                  <a:gd name="T113" fmla="*/ 2887 h 3108"/>
                  <a:gd name="T114" fmla="*/ 137 w 3750"/>
                  <a:gd name="T115" fmla="*/ 693 h 3108"/>
                  <a:gd name="T116" fmla="*/ 1037 w 3750"/>
                  <a:gd name="T117" fmla="*/ 643 h 3108"/>
                  <a:gd name="T118" fmla="*/ 1048 w 3750"/>
                  <a:gd name="T119" fmla="*/ 610 h 3108"/>
                  <a:gd name="T120" fmla="*/ 1046 w 3750"/>
                  <a:gd name="T121" fmla="*/ 209 h 3108"/>
                  <a:gd name="T122" fmla="*/ 1002 w 3750"/>
                  <a:gd name="T123" fmla="*/ 193 h 3108"/>
                  <a:gd name="T124" fmla="*/ 989 w 3750"/>
                  <a:gd name="T125" fmla="*/ 21 h 3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50" h="3108">
                    <a:moveTo>
                      <a:pt x="1657" y="2302"/>
                    </a:moveTo>
                    <a:lnTo>
                      <a:pt x="1640" y="2305"/>
                    </a:lnTo>
                    <a:lnTo>
                      <a:pt x="1626" y="2315"/>
                    </a:lnTo>
                    <a:lnTo>
                      <a:pt x="1617" y="2328"/>
                    </a:lnTo>
                    <a:lnTo>
                      <a:pt x="1613" y="2345"/>
                    </a:lnTo>
                    <a:lnTo>
                      <a:pt x="1613" y="2844"/>
                    </a:lnTo>
                    <a:lnTo>
                      <a:pt x="1617" y="2860"/>
                    </a:lnTo>
                    <a:lnTo>
                      <a:pt x="1626" y="2874"/>
                    </a:lnTo>
                    <a:lnTo>
                      <a:pt x="1640" y="2883"/>
                    </a:lnTo>
                    <a:lnTo>
                      <a:pt x="1657" y="2887"/>
                    </a:lnTo>
                    <a:lnTo>
                      <a:pt x="2155" y="2887"/>
                    </a:lnTo>
                    <a:lnTo>
                      <a:pt x="2171" y="2883"/>
                    </a:lnTo>
                    <a:lnTo>
                      <a:pt x="2184" y="2874"/>
                    </a:lnTo>
                    <a:lnTo>
                      <a:pt x="2193" y="2860"/>
                    </a:lnTo>
                    <a:lnTo>
                      <a:pt x="2197" y="2844"/>
                    </a:lnTo>
                    <a:lnTo>
                      <a:pt x="2197" y="2345"/>
                    </a:lnTo>
                    <a:lnTo>
                      <a:pt x="2193" y="2328"/>
                    </a:lnTo>
                    <a:lnTo>
                      <a:pt x="2184" y="2315"/>
                    </a:lnTo>
                    <a:lnTo>
                      <a:pt x="2171" y="2305"/>
                    </a:lnTo>
                    <a:lnTo>
                      <a:pt x="2155" y="2302"/>
                    </a:lnTo>
                    <a:lnTo>
                      <a:pt x="1657" y="2302"/>
                    </a:lnTo>
                    <a:close/>
                    <a:moveTo>
                      <a:pt x="2924" y="2210"/>
                    </a:moveTo>
                    <a:lnTo>
                      <a:pt x="2907" y="2213"/>
                    </a:lnTo>
                    <a:lnTo>
                      <a:pt x="2893" y="2222"/>
                    </a:lnTo>
                    <a:lnTo>
                      <a:pt x="2884" y="2236"/>
                    </a:lnTo>
                    <a:lnTo>
                      <a:pt x="2880" y="2253"/>
                    </a:lnTo>
                    <a:lnTo>
                      <a:pt x="2880" y="2575"/>
                    </a:lnTo>
                    <a:lnTo>
                      <a:pt x="2884" y="2592"/>
                    </a:lnTo>
                    <a:lnTo>
                      <a:pt x="2893" y="2605"/>
                    </a:lnTo>
                    <a:lnTo>
                      <a:pt x="2907" y="2615"/>
                    </a:lnTo>
                    <a:lnTo>
                      <a:pt x="2924" y="2618"/>
                    </a:lnTo>
                    <a:lnTo>
                      <a:pt x="3245" y="2618"/>
                    </a:lnTo>
                    <a:lnTo>
                      <a:pt x="3262" y="2615"/>
                    </a:lnTo>
                    <a:lnTo>
                      <a:pt x="3276" y="2605"/>
                    </a:lnTo>
                    <a:lnTo>
                      <a:pt x="3285" y="2592"/>
                    </a:lnTo>
                    <a:lnTo>
                      <a:pt x="3288" y="2575"/>
                    </a:lnTo>
                    <a:lnTo>
                      <a:pt x="3288" y="2253"/>
                    </a:lnTo>
                    <a:lnTo>
                      <a:pt x="3285" y="2236"/>
                    </a:lnTo>
                    <a:lnTo>
                      <a:pt x="3276" y="2222"/>
                    </a:lnTo>
                    <a:lnTo>
                      <a:pt x="3262" y="2213"/>
                    </a:lnTo>
                    <a:lnTo>
                      <a:pt x="3245" y="2210"/>
                    </a:lnTo>
                    <a:lnTo>
                      <a:pt x="2924" y="2210"/>
                    </a:lnTo>
                    <a:close/>
                    <a:moveTo>
                      <a:pt x="502" y="2210"/>
                    </a:moveTo>
                    <a:lnTo>
                      <a:pt x="487" y="2213"/>
                    </a:lnTo>
                    <a:lnTo>
                      <a:pt x="473" y="2222"/>
                    </a:lnTo>
                    <a:lnTo>
                      <a:pt x="463" y="2236"/>
                    </a:lnTo>
                    <a:lnTo>
                      <a:pt x="460" y="2253"/>
                    </a:lnTo>
                    <a:lnTo>
                      <a:pt x="460" y="2575"/>
                    </a:lnTo>
                    <a:lnTo>
                      <a:pt x="463" y="2592"/>
                    </a:lnTo>
                    <a:lnTo>
                      <a:pt x="473" y="2605"/>
                    </a:lnTo>
                    <a:lnTo>
                      <a:pt x="487" y="2615"/>
                    </a:lnTo>
                    <a:lnTo>
                      <a:pt x="502" y="2618"/>
                    </a:lnTo>
                    <a:lnTo>
                      <a:pt x="824" y="2618"/>
                    </a:lnTo>
                    <a:lnTo>
                      <a:pt x="841" y="2615"/>
                    </a:lnTo>
                    <a:lnTo>
                      <a:pt x="855" y="2605"/>
                    </a:lnTo>
                    <a:lnTo>
                      <a:pt x="864" y="2592"/>
                    </a:lnTo>
                    <a:lnTo>
                      <a:pt x="867" y="2575"/>
                    </a:lnTo>
                    <a:lnTo>
                      <a:pt x="867" y="2253"/>
                    </a:lnTo>
                    <a:lnTo>
                      <a:pt x="864" y="2236"/>
                    </a:lnTo>
                    <a:lnTo>
                      <a:pt x="855" y="2222"/>
                    </a:lnTo>
                    <a:lnTo>
                      <a:pt x="841" y="2213"/>
                    </a:lnTo>
                    <a:lnTo>
                      <a:pt x="824" y="2210"/>
                    </a:lnTo>
                    <a:lnTo>
                      <a:pt x="502" y="2210"/>
                    </a:lnTo>
                    <a:close/>
                    <a:moveTo>
                      <a:pt x="2924" y="1665"/>
                    </a:moveTo>
                    <a:lnTo>
                      <a:pt x="2907" y="1668"/>
                    </a:lnTo>
                    <a:lnTo>
                      <a:pt x="2893" y="1677"/>
                    </a:lnTo>
                    <a:lnTo>
                      <a:pt x="2884" y="1691"/>
                    </a:lnTo>
                    <a:lnTo>
                      <a:pt x="2880" y="1707"/>
                    </a:lnTo>
                    <a:lnTo>
                      <a:pt x="2880" y="2029"/>
                    </a:lnTo>
                    <a:lnTo>
                      <a:pt x="2884" y="2046"/>
                    </a:lnTo>
                    <a:lnTo>
                      <a:pt x="2893" y="2060"/>
                    </a:lnTo>
                    <a:lnTo>
                      <a:pt x="2907" y="2069"/>
                    </a:lnTo>
                    <a:lnTo>
                      <a:pt x="2924" y="2072"/>
                    </a:lnTo>
                    <a:lnTo>
                      <a:pt x="3245" y="2072"/>
                    </a:lnTo>
                    <a:lnTo>
                      <a:pt x="3262" y="2069"/>
                    </a:lnTo>
                    <a:lnTo>
                      <a:pt x="3276" y="2060"/>
                    </a:lnTo>
                    <a:lnTo>
                      <a:pt x="3285" y="2046"/>
                    </a:lnTo>
                    <a:lnTo>
                      <a:pt x="3288" y="2029"/>
                    </a:lnTo>
                    <a:lnTo>
                      <a:pt x="3288" y="1707"/>
                    </a:lnTo>
                    <a:lnTo>
                      <a:pt x="3285" y="1691"/>
                    </a:lnTo>
                    <a:lnTo>
                      <a:pt x="3276" y="1677"/>
                    </a:lnTo>
                    <a:lnTo>
                      <a:pt x="3262" y="1668"/>
                    </a:lnTo>
                    <a:lnTo>
                      <a:pt x="3245" y="1665"/>
                    </a:lnTo>
                    <a:lnTo>
                      <a:pt x="2924" y="1665"/>
                    </a:lnTo>
                    <a:close/>
                    <a:moveTo>
                      <a:pt x="502" y="1665"/>
                    </a:moveTo>
                    <a:lnTo>
                      <a:pt x="487" y="1668"/>
                    </a:lnTo>
                    <a:lnTo>
                      <a:pt x="473" y="1677"/>
                    </a:lnTo>
                    <a:lnTo>
                      <a:pt x="463" y="1691"/>
                    </a:lnTo>
                    <a:lnTo>
                      <a:pt x="460" y="1707"/>
                    </a:lnTo>
                    <a:lnTo>
                      <a:pt x="460" y="2029"/>
                    </a:lnTo>
                    <a:lnTo>
                      <a:pt x="463" y="2046"/>
                    </a:lnTo>
                    <a:lnTo>
                      <a:pt x="473" y="2060"/>
                    </a:lnTo>
                    <a:lnTo>
                      <a:pt x="487" y="2069"/>
                    </a:lnTo>
                    <a:lnTo>
                      <a:pt x="502" y="2072"/>
                    </a:lnTo>
                    <a:lnTo>
                      <a:pt x="824" y="2072"/>
                    </a:lnTo>
                    <a:lnTo>
                      <a:pt x="841" y="2069"/>
                    </a:lnTo>
                    <a:lnTo>
                      <a:pt x="855" y="2060"/>
                    </a:lnTo>
                    <a:lnTo>
                      <a:pt x="864" y="2046"/>
                    </a:lnTo>
                    <a:lnTo>
                      <a:pt x="867" y="2029"/>
                    </a:lnTo>
                    <a:lnTo>
                      <a:pt x="867" y="1707"/>
                    </a:lnTo>
                    <a:lnTo>
                      <a:pt x="864" y="1691"/>
                    </a:lnTo>
                    <a:lnTo>
                      <a:pt x="855" y="1677"/>
                    </a:lnTo>
                    <a:lnTo>
                      <a:pt x="841" y="1668"/>
                    </a:lnTo>
                    <a:lnTo>
                      <a:pt x="824" y="1665"/>
                    </a:lnTo>
                    <a:lnTo>
                      <a:pt x="502" y="1665"/>
                    </a:lnTo>
                    <a:close/>
                    <a:moveTo>
                      <a:pt x="2107" y="1654"/>
                    </a:moveTo>
                    <a:lnTo>
                      <a:pt x="2090" y="1658"/>
                    </a:lnTo>
                    <a:lnTo>
                      <a:pt x="2076" y="1667"/>
                    </a:lnTo>
                    <a:lnTo>
                      <a:pt x="2067" y="1681"/>
                    </a:lnTo>
                    <a:lnTo>
                      <a:pt x="2063" y="1698"/>
                    </a:lnTo>
                    <a:lnTo>
                      <a:pt x="2063" y="2020"/>
                    </a:lnTo>
                    <a:lnTo>
                      <a:pt x="2067" y="2036"/>
                    </a:lnTo>
                    <a:lnTo>
                      <a:pt x="2076" y="2050"/>
                    </a:lnTo>
                    <a:lnTo>
                      <a:pt x="2090" y="2059"/>
                    </a:lnTo>
                    <a:lnTo>
                      <a:pt x="2107" y="2062"/>
                    </a:lnTo>
                    <a:lnTo>
                      <a:pt x="2428" y="2062"/>
                    </a:lnTo>
                    <a:lnTo>
                      <a:pt x="2445" y="2059"/>
                    </a:lnTo>
                    <a:lnTo>
                      <a:pt x="2458" y="2050"/>
                    </a:lnTo>
                    <a:lnTo>
                      <a:pt x="2468" y="2036"/>
                    </a:lnTo>
                    <a:lnTo>
                      <a:pt x="2471" y="2020"/>
                    </a:lnTo>
                    <a:lnTo>
                      <a:pt x="2471" y="1698"/>
                    </a:lnTo>
                    <a:lnTo>
                      <a:pt x="2468" y="1681"/>
                    </a:lnTo>
                    <a:lnTo>
                      <a:pt x="2458" y="1667"/>
                    </a:lnTo>
                    <a:lnTo>
                      <a:pt x="2445" y="1658"/>
                    </a:lnTo>
                    <a:lnTo>
                      <a:pt x="2428" y="1654"/>
                    </a:lnTo>
                    <a:lnTo>
                      <a:pt x="2107" y="1654"/>
                    </a:lnTo>
                    <a:close/>
                    <a:moveTo>
                      <a:pt x="1375" y="1654"/>
                    </a:moveTo>
                    <a:lnTo>
                      <a:pt x="1358" y="1658"/>
                    </a:lnTo>
                    <a:lnTo>
                      <a:pt x="1344" y="1667"/>
                    </a:lnTo>
                    <a:lnTo>
                      <a:pt x="1335" y="1681"/>
                    </a:lnTo>
                    <a:lnTo>
                      <a:pt x="1332" y="1698"/>
                    </a:lnTo>
                    <a:lnTo>
                      <a:pt x="1332" y="2020"/>
                    </a:lnTo>
                    <a:lnTo>
                      <a:pt x="1335" y="2036"/>
                    </a:lnTo>
                    <a:lnTo>
                      <a:pt x="1344" y="2050"/>
                    </a:lnTo>
                    <a:lnTo>
                      <a:pt x="1358" y="2059"/>
                    </a:lnTo>
                    <a:lnTo>
                      <a:pt x="1375" y="2062"/>
                    </a:lnTo>
                    <a:lnTo>
                      <a:pt x="1697" y="2062"/>
                    </a:lnTo>
                    <a:lnTo>
                      <a:pt x="1713" y="2059"/>
                    </a:lnTo>
                    <a:lnTo>
                      <a:pt x="1726" y="2050"/>
                    </a:lnTo>
                    <a:lnTo>
                      <a:pt x="1736" y="2036"/>
                    </a:lnTo>
                    <a:lnTo>
                      <a:pt x="1740" y="2020"/>
                    </a:lnTo>
                    <a:lnTo>
                      <a:pt x="1740" y="1698"/>
                    </a:lnTo>
                    <a:lnTo>
                      <a:pt x="1736" y="1681"/>
                    </a:lnTo>
                    <a:lnTo>
                      <a:pt x="1726" y="1667"/>
                    </a:lnTo>
                    <a:lnTo>
                      <a:pt x="1713" y="1658"/>
                    </a:lnTo>
                    <a:lnTo>
                      <a:pt x="1697" y="1654"/>
                    </a:lnTo>
                    <a:lnTo>
                      <a:pt x="1375" y="1654"/>
                    </a:lnTo>
                    <a:close/>
                    <a:moveTo>
                      <a:pt x="2107" y="1109"/>
                    </a:moveTo>
                    <a:lnTo>
                      <a:pt x="2090" y="1112"/>
                    </a:lnTo>
                    <a:lnTo>
                      <a:pt x="2076" y="1121"/>
                    </a:lnTo>
                    <a:lnTo>
                      <a:pt x="2067" y="1135"/>
                    </a:lnTo>
                    <a:lnTo>
                      <a:pt x="2063" y="1152"/>
                    </a:lnTo>
                    <a:lnTo>
                      <a:pt x="2063" y="1474"/>
                    </a:lnTo>
                    <a:lnTo>
                      <a:pt x="2067" y="1491"/>
                    </a:lnTo>
                    <a:lnTo>
                      <a:pt x="2076" y="1505"/>
                    </a:lnTo>
                    <a:lnTo>
                      <a:pt x="2090" y="1514"/>
                    </a:lnTo>
                    <a:lnTo>
                      <a:pt x="2107" y="1517"/>
                    </a:lnTo>
                    <a:lnTo>
                      <a:pt x="2428" y="1517"/>
                    </a:lnTo>
                    <a:lnTo>
                      <a:pt x="2445" y="1514"/>
                    </a:lnTo>
                    <a:lnTo>
                      <a:pt x="2458" y="1505"/>
                    </a:lnTo>
                    <a:lnTo>
                      <a:pt x="2468" y="1491"/>
                    </a:lnTo>
                    <a:lnTo>
                      <a:pt x="2471" y="1474"/>
                    </a:lnTo>
                    <a:lnTo>
                      <a:pt x="2471" y="1152"/>
                    </a:lnTo>
                    <a:lnTo>
                      <a:pt x="2468" y="1135"/>
                    </a:lnTo>
                    <a:lnTo>
                      <a:pt x="2458" y="1121"/>
                    </a:lnTo>
                    <a:lnTo>
                      <a:pt x="2445" y="1112"/>
                    </a:lnTo>
                    <a:lnTo>
                      <a:pt x="2428" y="1109"/>
                    </a:lnTo>
                    <a:lnTo>
                      <a:pt x="2107" y="1109"/>
                    </a:lnTo>
                    <a:close/>
                    <a:moveTo>
                      <a:pt x="1375" y="1109"/>
                    </a:moveTo>
                    <a:lnTo>
                      <a:pt x="1358" y="1112"/>
                    </a:lnTo>
                    <a:lnTo>
                      <a:pt x="1344" y="1121"/>
                    </a:lnTo>
                    <a:lnTo>
                      <a:pt x="1335" y="1135"/>
                    </a:lnTo>
                    <a:lnTo>
                      <a:pt x="1332" y="1152"/>
                    </a:lnTo>
                    <a:lnTo>
                      <a:pt x="1332" y="1474"/>
                    </a:lnTo>
                    <a:lnTo>
                      <a:pt x="1335" y="1491"/>
                    </a:lnTo>
                    <a:lnTo>
                      <a:pt x="1344" y="1505"/>
                    </a:lnTo>
                    <a:lnTo>
                      <a:pt x="1358" y="1514"/>
                    </a:lnTo>
                    <a:lnTo>
                      <a:pt x="1375" y="1517"/>
                    </a:lnTo>
                    <a:lnTo>
                      <a:pt x="1697" y="1517"/>
                    </a:lnTo>
                    <a:lnTo>
                      <a:pt x="1713" y="1514"/>
                    </a:lnTo>
                    <a:lnTo>
                      <a:pt x="1726" y="1505"/>
                    </a:lnTo>
                    <a:lnTo>
                      <a:pt x="1736" y="1491"/>
                    </a:lnTo>
                    <a:lnTo>
                      <a:pt x="1740" y="1474"/>
                    </a:lnTo>
                    <a:lnTo>
                      <a:pt x="1740" y="1152"/>
                    </a:lnTo>
                    <a:lnTo>
                      <a:pt x="1736" y="1135"/>
                    </a:lnTo>
                    <a:lnTo>
                      <a:pt x="1726" y="1121"/>
                    </a:lnTo>
                    <a:lnTo>
                      <a:pt x="1713" y="1112"/>
                    </a:lnTo>
                    <a:lnTo>
                      <a:pt x="1697" y="1109"/>
                    </a:lnTo>
                    <a:lnTo>
                      <a:pt x="1375" y="1109"/>
                    </a:lnTo>
                    <a:close/>
                    <a:moveTo>
                      <a:pt x="2924" y="1099"/>
                    </a:moveTo>
                    <a:lnTo>
                      <a:pt x="2907" y="1103"/>
                    </a:lnTo>
                    <a:lnTo>
                      <a:pt x="2893" y="1112"/>
                    </a:lnTo>
                    <a:lnTo>
                      <a:pt x="2884" y="1126"/>
                    </a:lnTo>
                    <a:lnTo>
                      <a:pt x="2880" y="1142"/>
                    </a:lnTo>
                    <a:lnTo>
                      <a:pt x="2880" y="1465"/>
                    </a:lnTo>
                    <a:lnTo>
                      <a:pt x="2884" y="1481"/>
                    </a:lnTo>
                    <a:lnTo>
                      <a:pt x="2893" y="1495"/>
                    </a:lnTo>
                    <a:lnTo>
                      <a:pt x="2907" y="1504"/>
                    </a:lnTo>
                    <a:lnTo>
                      <a:pt x="2924" y="1507"/>
                    </a:lnTo>
                    <a:lnTo>
                      <a:pt x="3245" y="1507"/>
                    </a:lnTo>
                    <a:lnTo>
                      <a:pt x="3262" y="1504"/>
                    </a:lnTo>
                    <a:lnTo>
                      <a:pt x="3276" y="1495"/>
                    </a:lnTo>
                    <a:lnTo>
                      <a:pt x="3285" y="1481"/>
                    </a:lnTo>
                    <a:lnTo>
                      <a:pt x="3288" y="1465"/>
                    </a:lnTo>
                    <a:lnTo>
                      <a:pt x="3288" y="1142"/>
                    </a:lnTo>
                    <a:lnTo>
                      <a:pt x="3285" y="1126"/>
                    </a:lnTo>
                    <a:lnTo>
                      <a:pt x="3276" y="1112"/>
                    </a:lnTo>
                    <a:lnTo>
                      <a:pt x="3262" y="1103"/>
                    </a:lnTo>
                    <a:lnTo>
                      <a:pt x="3245" y="1099"/>
                    </a:lnTo>
                    <a:lnTo>
                      <a:pt x="2924" y="1099"/>
                    </a:lnTo>
                    <a:close/>
                    <a:moveTo>
                      <a:pt x="502" y="1099"/>
                    </a:moveTo>
                    <a:lnTo>
                      <a:pt x="487" y="1103"/>
                    </a:lnTo>
                    <a:lnTo>
                      <a:pt x="473" y="1112"/>
                    </a:lnTo>
                    <a:lnTo>
                      <a:pt x="463" y="1126"/>
                    </a:lnTo>
                    <a:lnTo>
                      <a:pt x="460" y="1142"/>
                    </a:lnTo>
                    <a:lnTo>
                      <a:pt x="460" y="1465"/>
                    </a:lnTo>
                    <a:lnTo>
                      <a:pt x="463" y="1481"/>
                    </a:lnTo>
                    <a:lnTo>
                      <a:pt x="473" y="1495"/>
                    </a:lnTo>
                    <a:lnTo>
                      <a:pt x="487" y="1504"/>
                    </a:lnTo>
                    <a:lnTo>
                      <a:pt x="502" y="1507"/>
                    </a:lnTo>
                    <a:lnTo>
                      <a:pt x="824" y="1507"/>
                    </a:lnTo>
                    <a:lnTo>
                      <a:pt x="841" y="1504"/>
                    </a:lnTo>
                    <a:lnTo>
                      <a:pt x="855" y="1495"/>
                    </a:lnTo>
                    <a:lnTo>
                      <a:pt x="864" y="1481"/>
                    </a:lnTo>
                    <a:lnTo>
                      <a:pt x="867" y="1465"/>
                    </a:lnTo>
                    <a:lnTo>
                      <a:pt x="867" y="1142"/>
                    </a:lnTo>
                    <a:lnTo>
                      <a:pt x="864" y="1126"/>
                    </a:lnTo>
                    <a:lnTo>
                      <a:pt x="855" y="1112"/>
                    </a:lnTo>
                    <a:lnTo>
                      <a:pt x="841" y="1103"/>
                    </a:lnTo>
                    <a:lnTo>
                      <a:pt x="824" y="1099"/>
                    </a:lnTo>
                    <a:lnTo>
                      <a:pt x="502" y="1099"/>
                    </a:lnTo>
                    <a:close/>
                    <a:moveTo>
                      <a:pt x="2107" y="544"/>
                    </a:moveTo>
                    <a:lnTo>
                      <a:pt x="2090" y="548"/>
                    </a:lnTo>
                    <a:lnTo>
                      <a:pt x="2076" y="557"/>
                    </a:lnTo>
                    <a:lnTo>
                      <a:pt x="2067" y="571"/>
                    </a:lnTo>
                    <a:lnTo>
                      <a:pt x="2063" y="587"/>
                    </a:lnTo>
                    <a:lnTo>
                      <a:pt x="2063" y="909"/>
                    </a:lnTo>
                    <a:lnTo>
                      <a:pt x="2067" y="926"/>
                    </a:lnTo>
                    <a:lnTo>
                      <a:pt x="2076" y="940"/>
                    </a:lnTo>
                    <a:lnTo>
                      <a:pt x="2090" y="949"/>
                    </a:lnTo>
                    <a:lnTo>
                      <a:pt x="2107" y="952"/>
                    </a:lnTo>
                    <a:lnTo>
                      <a:pt x="2428" y="952"/>
                    </a:lnTo>
                    <a:lnTo>
                      <a:pt x="2445" y="949"/>
                    </a:lnTo>
                    <a:lnTo>
                      <a:pt x="2458" y="940"/>
                    </a:lnTo>
                    <a:lnTo>
                      <a:pt x="2468" y="926"/>
                    </a:lnTo>
                    <a:lnTo>
                      <a:pt x="2471" y="909"/>
                    </a:lnTo>
                    <a:lnTo>
                      <a:pt x="2471" y="587"/>
                    </a:lnTo>
                    <a:lnTo>
                      <a:pt x="2468" y="571"/>
                    </a:lnTo>
                    <a:lnTo>
                      <a:pt x="2458" y="557"/>
                    </a:lnTo>
                    <a:lnTo>
                      <a:pt x="2445" y="548"/>
                    </a:lnTo>
                    <a:lnTo>
                      <a:pt x="2428" y="544"/>
                    </a:lnTo>
                    <a:lnTo>
                      <a:pt x="2107" y="544"/>
                    </a:lnTo>
                    <a:close/>
                    <a:moveTo>
                      <a:pt x="1375" y="544"/>
                    </a:moveTo>
                    <a:lnTo>
                      <a:pt x="1358" y="548"/>
                    </a:lnTo>
                    <a:lnTo>
                      <a:pt x="1344" y="557"/>
                    </a:lnTo>
                    <a:lnTo>
                      <a:pt x="1335" y="571"/>
                    </a:lnTo>
                    <a:lnTo>
                      <a:pt x="1332" y="587"/>
                    </a:lnTo>
                    <a:lnTo>
                      <a:pt x="1332" y="909"/>
                    </a:lnTo>
                    <a:lnTo>
                      <a:pt x="1335" y="926"/>
                    </a:lnTo>
                    <a:lnTo>
                      <a:pt x="1344" y="940"/>
                    </a:lnTo>
                    <a:lnTo>
                      <a:pt x="1358" y="949"/>
                    </a:lnTo>
                    <a:lnTo>
                      <a:pt x="1375" y="952"/>
                    </a:lnTo>
                    <a:lnTo>
                      <a:pt x="1697" y="952"/>
                    </a:lnTo>
                    <a:lnTo>
                      <a:pt x="1713" y="949"/>
                    </a:lnTo>
                    <a:lnTo>
                      <a:pt x="1726" y="940"/>
                    </a:lnTo>
                    <a:lnTo>
                      <a:pt x="1736" y="926"/>
                    </a:lnTo>
                    <a:lnTo>
                      <a:pt x="1740" y="909"/>
                    </a:lnTo>
                    <a:lnTo>
                      <a:pt x="1740" y="587"/>
                    </a:lnTo>
                    <a:lnTo>
                      <a:pt x="1736" y="571"/>
                    </a:lnTo>
                    <a:lnTo>
                      <a:pt x="1726" y="557"/>
                    </a:lnTo>
                    <a:lnTo>
                      <a:pt x="1713" y="548"/>
                    </a:lnTo>
                    <a:lnTo>
                      <a:pt x="1697" y="544"/>
                    </a:lnTo>
                    <a:lnTo>
                      <a:pt x="1375" y="544"/>
                    </a:lnTo>
                    <a:close/>
                    <a:moveTo>
                      <a:pt x="1032" y="0"/>
                    </a:moveTo>
                    <a:lnTo>
                      <a:pt x="2770" y="0"/>
                    </a:lnTo>
                    <a:lnTo>
                      <a:pt x="2787" y="2"/>
                    </a:lnTo>
                    <a:lnTo>
                      <a:pt x="2801" y="10"/>
                    </a:lnTo>
                    <a:lnTo>
                      <a:pt x="2813" y="21"/>
                    </a:lnTo>
                    <a:lnTo>
                      <a:pt x="2820" y="36"/>
                    </a:lnTo>
                    <a:lnTo>
                      <a:pt x="2823" y="53"/>
                    </a:lnTo>
                    <a:lnTo>
                      <a:pt x="2823" y="149"/>
                    </a:lnTo>
                    <a:lnTo>
                      <a:pt x="2820" y="165"/>
                    </a:lnTo>
                    <a:lnTo>
                      <a:pt x="2813" y="180"/>
                    </a:lnTo>
                    <a:lnTo>
                      <a:pt x="2801" y="193"/>
                    </a:lnTo>
                    <a:lnTo>
                      <a:pt x="2787" y="200"/>
                    </a:lnTo>
                    <a:lnTo>
                      <a:pt x="2770" y="203"/>
                    </a:lnTo>
                    <a:lnTo>
                      <a:pt x="2764" y="203"/>
                    </a:lnTo>
                    <a:lnTo>
                      <a:pt x="2761" y="204"/>
                    </a:lnTo>
                    <a:lnTo>
                      <a:pt x="2757" y="204"/>
                    </a:lnTo>
                    <a:lnTo>
                      <a:pt x="2756" y="206"/>
                    </a:lnTo>
                    <a:lnTo>
                      <a:pt x="2755" y="208"/>
                    </a:lnTo>
                    <a:lnTo>
                      <a:pt x="2754" y="210"/>
                    </a:lnTo>
                    <a:lnTo>
                      <a:pt x="2754" y="211"/>
                    </a:lnTo>
                    <a:lnTo>
                      <a:pt x="2754" y="620"/>
                    </a:lnTo>
                    <a:lnTo>
                      <a:pt x="2754" y="621"/>
                    </a:lnTo>
                    <a:lnTo>
                      <a:pt x="2754" y="626"/>
                    </a:lnTo>
                    <a:lnTo>
                      <a:pt x="2756" y="632"/>
                    </a:lnTo>
                    <a:lnTo>
                      <a:pt x="2761" y="638"/>
                    </a:lnTo>
                    <a:lnTo>
                      <a:pt x="2768" y="643"/>
                    </a:lnTo>
                    <a:lnTo>
                      <a:pt x="2779" y="645"/>
                    </a:lnTo>
                    <a:lnTo>
                      <a:pt x="3528" y="645"/>
                    </a:lnTo>
                    <a:lnTo>
                      <a:pt x="3553" y="648"/>
                    </a:lnTo>
                    <a:lnTo>
                      <a:pt x="3575" y="659"/>
                    </a:lnTo>
                    <a:lnTo>
                      <a:pt x="3596" y="673"/>
                    </a:lnTo>
                    <a:lnTo>
                      <a:pt x="3611" y="693"/>
                    </a:lnTo>
                    <a:lnTo>
                      <a:pt x="3621" y="716"/>
                    </a:lnTo>
                    <a:lnTo>
                      <a:pt x="3624" y="742"/>
                    </a:lnTo>
                    <a:lnTo>
                      <a:pt x="3624" y="2859"/>
                    </a:lnTo>
                    <a:lnTo>
                      <a:pt x="3624" y="2860"/>
                    </a:lnTo>
                    <a:lnTo>
                      <a:pt x="3624" y="2865"/>
                    </a:lnTo>
                    <a:lnTo>
                      <a:pt x="3626" y="2871"/>
                    </a:lnTo>
                    <a:lnTo>
                      <a:pt x="3629" y="2878"/>
                    </a:lnTo>
                    <a:lnTo>
                      <a:pt x="3634" y="2883"/>
                    </a:lnTo>
                    <a:lnTo>
                      <a:pt x="3640" y="2888"/>
                    </a:lnTo>
                    <a:lnTo>
                      <a:pt x="3649" y="2889"/>
                    </a:lnTo>
                    <a:lnTo>
                      <a:pt x="3696" y="2889"/>
                    </a:lnTo>
                    <a:lnTo>
                      <a:pt x="3713" y="2892"/>
                    </a:lnTo>
                    <a:lnTo>
                      <a:pt x="3728" y="2899"/>
                    </a:lnTo>
                    <a:lnTo>
                      <a:pt x="3739" y="2912"/>
                    </a:lnTo>
                    <a:lnTo>
                      <a:pt x="3747" y="2926"/>
                    </a:lnTo>
                    <a:lnTo>
                      <a:pt x="3750" y="2943"/>
                    </a:lnTo>
                    <a:lnTo>
                      <a:pt x="3750" y="3055"/>
                    </a:lnTo>
                    <a:lnTo>
                      <a:pt x="3747" y="3072"/>
                    </a:lnTo>
                    <a:lnTo>
                      <a:pt x="3739" y="3087"/>
                    </a:lnTo>
                    <a:lnTo>
                      <a:pt x="3728" y="3098"/>
                    </a:lnTo>
                    <a:lnTo>
                      <a:pt x="3713" y="3106"/>
                    </a:lnTo>
                    <a:lnTo>
                      <a:pt x="3696" y="3108"/>
                    </a:lnTo>
                    <a:lnTo>
                      <a:pt x="54" y="3108"/>
                    </a:lnTo>
                    <a:lnTo>
                      <a:pt x="36" y="3106"/>
                    </a:lnTo>
                    <a:lnTo>
                      <a:pt x="22" y="3098"/>
                    </a:lnTo>
                    <a:lnTo>
                      <a:pt x="10" y="3087"/>
                    </a:lnTo>
                    <a:lnTo>
                      <a:pt x="2" y="3072"/>
                    </a:lnTo>
                    <a:lnTo>
                      <a:pt x="0" y="3055"/>
                    </a:lnTo>
                    <a:lnTo>
                      <a:pt x="0" y="2943"/>
                    </a:lnTo>
                    <a:lnTo>
                      <a:pt x="2" y="2926"/>
                    </a:lnTo>
                    <a:lnTo>
                      <a:pt x="10" y="2912"/>
                    </a:lnTo>
                    <a:lnTo>
                      <a:pt x="22" y="2899"/>
                    </a:lnTo>
                    <a:lnTo>
                      <a:pt x="36" y="2892"/>
                    </a:lnTo>
                    <a:lnTo>
                      <a:pt x="54" y="2889"/>
                    </a:lnTo>
                    <a:lnTo>
                      <a:pt x="91" y="2889"/>
                    </a:lnTo>
                    <a:lnTo>
                      <a:pt x="103" y="2889"/>
                    </a:lnTo>
                    <a:lnTo>
                      <a:pt x="112" y="2887"/>
                    </a:lnTo>
                    <a:lnTo>
                      <a:pt x="118" y="2882"/>
                    </a:lnTo>
                    <a:lnTo>
                      <a:pt x="122" y="2876"/>
                    </a:lnTo>
                    <a:lnTo>
                      <a:pt x="124" y="2866"/>
                    </a:lnTo>
                    <a:lnTo>
                      <a:pt x="124" y="742"/>
                    </a:lnTo>
                    <a:lnTo>
                      <a:pt x="128" y="716"/>
                    </a:lnTo>
                    <a:lnTo>
                      <a:pt x="137" y="693"/>
                    </a:lnTo>
                    <a:lnTo>
                      <a:pt x="152" y="673"/>
                    </a:lnTo>
                    <a:lnTo>
                      <a:pt x="172" y="659"/>
                    </a:lnTo>
                    <a:lnTo>
                      <a:pt x="195" y="648"/>
                    </a:lnTo>
                    <a:lnTo>
                      <a:pt x="220" y="645"/>
                    </a:lnTo>
                    <a:lnTo>
                      <a:pt x="1028" y="645"/>
                    </a:lnTo>
                    <a:lnTo>
                      <a:pt x="1037" y="643"/>
                    </a:lnTo>
                    <a:lnTo>
                      <a:pt x="1043" y="638"/>
                    </a:lnTo>
                    <a:lnTo>
                      <a:pt x="1046" y="631"/>
                    </a:lnTo>
                    <a:lnTo>
                      <a:pt x="1047" y="623"/>
                    </a:lnTo>
                    <a:lnTo>
                      <a:pt x="1048" y="616"/>
                    </a:lnTo>
                    <a:lnTo>
                      <a:pt x="1048" y="612"/>
                    </a:lnTo>
                    <a:lnTo>
                      <a:pt x="1048" y="610"/>
                    </a:lnTo>
                    <a:lnTo>
                      <a:pt x="1048" y="218"/>
                    </a:lnTo>
                    <a:lnTo>
                      <a:pt x="1048" y="217"/>
                    </a:lnTo>
                    <a:lnTo>
                      <a:pt x="1048" y="216"/>
                    </a:lnTo>
                    <a:lnTo>
                      <a:pt x="1048" y="213"/>
                    </a:lnTo>
                    <a:lnTo>
                      <a:pt x="1047" y="211"/>
                    </a:lnTo>
                    <a:lnTo>
                      <a:pt x="1046" y="209"/>
                    </a:lnTo>
                    <a:lnTo>
                      <a:pt x="1044" y="206"/>
                    </a:lnTo>
                    <a:lnTo>
                      <a:pt x="1041" y="204"/>
                    </a:lnTo>
                    <a:lnTo>
                      <a:pt x="1037" y="203"/>
                    </a:lnTo>
                    <a:lnTo>
                      <a:pt x="1032" y="203"/>
                    </a:lnTo>
                    <a:lnTo>
                      <a:pt x="1015" y="200"/>
                    </a:lnTo>
                    <a:lnTo>
                      <a:pt x="1002" y="193"/>
                    </a:lnTo>
                    <a:lnTo>
                      <a:pt x="989" y="180"/>
                    </a:lnTo>
                    <a:lnTo>
                      <a:pt x="982" y="165"/>
                    </a:lnTo>
                    <a:lnTo>
                      <a:pt x="979" y="149"/>
                    </a:lnTo>
                    <a:lnTo>
                      <a:pt x="979" y="53"/>
                    </a:lnTo>
                    <a:lnTo>
                      <a:pt x="982" y="36"/>
                    </a:lnTo>
                    <a:lnTo>
                      <a:pt x="989" y="21"/>
                    </a:lnTo>
                    <a:lnTo>
                      <a:pt x="1002" y="10"/>
                    </a:lnTo>
                    <a:lnTo>
                      <a:pt x="1015" y="2"/>
                    </a:lnTo>
                    <a:lnTo>
                      <a:pt x="1032" y="0"/>
                    </a:lnTo>
                    <a:close/>
                  </a:path>
                </a:pathLst>
              </a:custGeom>
              <a:solidFill>
                <a:srgbClr val="02467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635" name="Rectangle 634">
                <a:extLst>
                  <a:ext uri="{FF2B5EF4-FFF2-40B4-BE49-F238E27FC236}">
                    <a16:creationId xmlns:a16="http://schemas.microsoft.com/office/drawing/2014/main" id="{5EA882AC-D9E7-4D99-9028-F10D9F9E187E}"/>
                  </a:ext>
                </a:extLst>
              </p:cNvPr>
              <p:cNvSpPr/>
              <p:nvPr/>
            </p:nvSpPr>
            <p:spPr>
              <a:xfrm>
                <a:off x="8284194" y="2136338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Plant Status</a:t>
                </a:r>
                <a:endPara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64A153DF-0FDE-4B02-8400-7D09C13459F3}"/>
                  </a:ext>
                </a:extLst>
              </p:cNvPr>
              <p:cNvSpPr/>
              <p:nvPr/>
            </p:nvSpPr>
            <p:spPr>
              <a:xfrm>
                <a:off x="8282989" y="2420822"/>
                <a:ext cx="108000" cy="108000"/>
              </a:xfrm>
              <a:prstGeom prst="ellipse">
                <a:avLst/>
              </a:prstGeom>
              <a:solidFill>
                <a:srgbClr val="F8992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637" name="Oval 636">
                <a:extLst>
                  <a:ext uri="{FF2B5EF4-FFF2-40B4-BE49-F238E27FC236}">
                    <a16:creationId xmlns:a16="http://schemas.microsoft.com/office/drawing/2014/main" id="{B03D3922-2BC7-448A-B894-8A2E6F78BCBB}"/>
                  </a:ext>
                </a:extLst>
              </p:cNvPr>
              <p:cNvSpPr/>
              <p:nvPr/>
            </p:nvSpPr>
            <p:spPr>
              <a:xfrm>
                <a:off x="8282989" y="2667328"/>
                <a:ext cx="108000" cy="1080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638" name="Rectangle 637">
                <a:extLst>
                  <a:ext uri="{FF2B5EF4-FFF2-40B4-BE49-F238E27FC236}">
                    <a16:creationId xmlns:a16="http://schemas.microsoft.com/office/drawing/2014/main" id="{F34C6DF7-201E-4E65-8F07-A7919644529F}"/>
                  </a:ext>
                </a:extLst>
              </p:cNvPr>
              <p:cNvSpPr/>
              <p:nvPr/>
            </p:nvSpPr>
            <p:spPr>
              <a:xfrm>
                <a:off x="7274275" y="2364030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Solar</a:t>
                </a:r>
              </a:p>
            </p:txBody>
          </p:sp>
          <p:sp>
            <p:nvSpPr>
              <p:cNvPr id="639" name="Rectangle 638">
                <a:extLst>
                  <a:ext uri="{FF2B5EF4-FFF2-40B4-BE49-F238E27FC236}">
                    <a16:creationId xmlns:a16="http://schemas.microsoft.com/office/drawing/2014/main" id="{D19C38C6-2581-4168-8F8B-99A047F9196D}"/>
                  </a:ext>
                </a:extLst>
              </p:cNvPr>
              <p:cNvSpPr/>
              <p:nvPr/>
            </p:nvSpPr>
            <p:spPr>
              <a:xfrm>
                <a:off x="7274275" y="2597862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Wind</a:t>
                </a:r>
              </a:p>
            </p:txBody>
          </p:sp>
          <p:sp>
            <p:nvSpPr>
              <p:cNvPr id="640" name="Rectangle 639">
                <a:extLst>
                  <a:ext uri="{FF2B5EF4-FFF2-40B4-BE49-F238E27FC236}">
                    <a16:creationId xmlns:a16="http://schemas.microsoft.com/office/drawing/2014/main" id="{6121F4C6-EB74-487B-9E94-9BCB181A5972}"/>
                  </a:ext>
                </a:extLst>
              </p:cNvPr>
              <p:cNvSpPr/>
              <p:nvPr/>
            </p:nvSpPr>
            <p:spPr>
              <a:xfrm>
                <a:off x="7274275" y="2823743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Gas</a:t>
                </a:r>
              </a:p>
            </p:txBody>
          </p:sp>
          <p:sp>
            <p:nvSpPr>
              <p:cNvPr id="641" name="Rectangle 640">
                <a:extLst>
                  <a:ext uri="{FF2B5EF4-FFF2-40B4-BE49-F238E27FC236}">
                    <a16:creationId xmlns:a16="http://schemas.microsoft.com/office/drawing/2014/main" id="{A5DFAB5D-DDF4-4944-9AB9-0AC02982D8F3}"/>
                  </a:ext>
                </a:extLst>
              </p:cNvPr>
              <p:cNvSpPr/>
              <p:nvPr/>
            </p:nvSpPr>
            <p:spPr>
              <a:xfrm>
                <a:off x="7274275" y="3033722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HFO</a:t>
                </a:r>
              </a:p>
            </p:txBody>
          </p:sp>
          <p:sp>
            <p:nvSpPr>
              <p:cNvPr id="642" name="Rectangle 641">
                <a:extLst>
                  <a:ext uri="{FF2B5EF4-FFF2-40B4-BE49-F238E27FC236}">
                    <a16:creationId xmlns:a16="http://schemas.microsoft.com/office/drawing/2014/main" id="{8EC01A14-1C05-4558-8C46-3F346B61B8AD}"/>
                  </a:ext>
                </a:extLst>
              </p:cNvPr>
              <p:cNvSpPr/>
              <p:nvPr/>
            </p:nvSpPr>
            <p:spPr>
              <a:xfrm>
                <a:off x="7274275" y="3251652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Office</a:t>
                </a:r>
              </a:p>
            </p:txBody>
          </p:sp>
          <p:sp>
            <p:nvSpPr>
              <p:cNvPr id="643" name="Rectangle 642">
                <a:extLst>
                  <a:ext uri="{FF2B5EF4-FFF2-40B4-BE49-F238E27FC236}">
                    <a16:creationId xmlns:a16="http://schemas.microsoft.com/office/drawing/2014/main" id="{D9C44C6B-1FB0-4D24-8972-0C0D853BF73E}"/>
                  </a:ext>
                </a:extLst>
              </p:cNvPr>
              <p:cNvSpPr/>
              <p:nvPr/>
            </p:nvSpPr>
            <p:spPr>
              <a:xfrm>
                <a:off x="8459323" y="2351775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Existing</a:t>
                </a:r>
              </a:p>
            </p:txBody>
          </p:sp>
          <p:sp>
            <p:nvSpPr>
              <p:cNvPr id="644" name="Rectangle 643">
                <a:extLst>
                  <a:ext uri="{FF2B5EF4-FFF2-40B4-BE49-F238E27FC236}">
                    <a16:creationId xmlns:a16="http://schemas.microsoft.com/office/drawing/2014/main" id="{D50223D1-2A82-404E-9062-61BD2772ECFC}"/>
                  </a:ext>
                </a:extLst>
              </p:cNvPr>
              <p:cNvSpPr/>
              <p:nvPr/>
            </p:nvSpPr>
            <p:spPr>
              <a:xfrm>
                <a:off x="8466641" y="2615434"/>
                <a:ext cx="1061495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25000"/>
                      </a:srgbClr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In Construction</a:t>
                </a: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9BFBE66C-E565-4918-9729-57F9470C9D45}"/>
                </a:ext>
              </a:extLst>
            </p:cNvPr>
            <p:cNvGrpSpPr/>
            <p:nvPr/>
          </p:nvGrpSpPr>
          <p:grpSpPr>
            <a:xfrm>
              <a:off x="8575497" y="191563"/>
              <a:ext cx="3194343" cy="272706"/>
              <a:chOff x="8679471" y="400890"/>
              <a:chExt cx="3949658" cy="213856"/>
            </a:xfrm>
          </p:grpSpPr>
          <p:sp>
            <p:nvSpPr>
              <p:cNvPr id="206" name="Freeform 51">
                <a:extLst>
                  <a:ext uri="{FF2B5EF4-FFF2-40B4-BE49-F238E27FC236}">
                    <a16:creationId xmlns:a16="http://schemas.microsoft.com/office/drawing/2014/main" id="{68E9171D-D531-4F96-A32F-12CFCD66F5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79471" y="410915"/>
                <a:ext cx="180000" cy="180000"/>
              </a:xfrm>
              <a:custGeom>
                <a:avLst/>
                <a:gdLst>
                  <a:gd name="T0" fmla="*/ 1613 w 3750"/>
                  <a:gd name="T1" fmla="*/ 2844 h 3108"/>
                  <a:gd name="T2" fmla="*/ 2171 w 3750"/>
                  <a:gd name="T3" fmla="*/ 2883 h 3108"/>
                  <a:gd name="T4" fmla="*/ 2184 w 3750"/>
                  <a:gd name="T5" fmla="*/ 2315 h 3108"/>
                  <a:gd name="T6" fmla="*/ 2893 w 3750"/>
                  <a:gd name="T7" fmla="*/ 2222 h 3108"/>
                  <a:gd name="T8" fmla="*/ 2907 w 3750"/>
                  <a:gd name="T9" fmla="*/ 2615 h 3108"/>
                  <a:gd name="T10" fmla="*/ 3288 w 3750"/>
                  <a:gd name="T11" fmla="*/ 2575 h 3108"/>
                  <a:gd name="T12" fmla="*/ 2924 w 3750"/>
                  <a:gd name="T13" fmla="*/ 2210 h 3108"/>
                  <a:gd name="T14" fmla="*/ 460 w 3750"/>
                  <a:gd name="T15" fmla="*/ 2575 h 3108"/>
                  <a:gd name="T16" fmla="*/ 841 w 3750"/>
                  <a:gd name="T17" fmla="*/ 2615 h 3108"/>
                  <a:gd name="T18" fmla="*/ 855 w 3750"/>
                  <a:gd name="T19" fmla="*/ 2222 h 3108"/>
                  <a:gd name="T20" fmla="*/ 2893 w 3750"/>
                  <a:gd name="T21" fmla="*/ 1677 h 3108"/>
                  <a:gd name="T22" fmla="*/ 2907 w 3750"/>
                  <a:gd name="T23" fmla="*/ 2069 h 3108"/>
                  <a:gd name="T24" fmla="*/ 3288 w 3750"/>
                  <a:gd name="T25" fmla="*/ 2029 h 3108"/>
                  <a:gd name="T26" fmla="*/ 2924 w 3750"/>
                  <a:gd name="T27" fmla="*/ 1665 h 3108"/>
                  <a:gd name="T28" fmla="*/ 460 w 3750"/>
                  <a:gd name="T29" fmla="*/ 2029 h 3108"/>
                  <a:gd name="T30" fmla="*/ 841 w 3750"/>
                  <a:gd name="T31" fmla="*/ 2069 h 3108"/>
                  <a:gd name="T32" fmla="*/ 855 w 3750"/>
                  <a:gd name="T33" fmla="*/ 1677 h 3108"/>
                  <a:gd name="T34" fmla="*/ 2076 w 3750"/>
                  <a:gd name="T35" fmla="*/ 1667 h 3108"/>
                  <a:gd name="T36" fmla="*/ 2090 w 3750"/>
                  <a:gd name="T37" fmla="*/ 2059 h 3108"/>
                  <a:gd name="T38" fmla="*/ 2471 w 3750"/>
                  <a:gd name="T39" fmla="*/ 2020 h 3108"/>
                  <a:gd name="T40" fmla="*/ 2107 w 3750"/>
                  <a:gd name="T41" fmla="*/ 1654 h 3108"/>
                  <a:gd name="T42" fmla="*/ 1332 w 3750"/>
                  <a:gd name="T43" fmla="*/ 2020 h 3108"/>
                  <a:gd name="T44" fmla="*/ 1713 w 3750"/>
                  <a:gd name="T45" fmla="*/ 2059 h 3108"/>
                  <a:gd name="T46" fmla="*/ 1726 w 3750"/>
                  <a:gd name="T47" fmla="*/ 1667 h 3108"/>
                  <a:gd name="T48" fmla="*/ 2076 w 3750"/>
                  <a:gd name="T49" fmla="*/ 1121 h 3108"/>
                  <a:gd name="T50" fmla="*/ 2090 w 3750"/>
                  <a:gd name="T51" fmla="*/ 1514 h 3108"/>
                  <a:gd name="T52" fmla="*/ 2471 w 3750"/>
                  <a:gd name="T53" fmla="*/ 1474 h 3108"/>
                  <a:gd name="T54" fmla="*/ 2107 w 3750"/>
                  <a:gd name="T55" fmla="*/ 1109 h 3108"/>
                  <a:gd name="T56" fmla="*/ 1332 w 3750"/>
                  <a:gd name="T57" fmla="*/ 1474 h 3108"/>
                  <a:gd name="T58" fmla="*/ 1713 w 3750"/>
                  <a:gd name="T59" fmla="*/ 1514 h 3108"/>
                  <a:gd name="T60" fmla="*/ 1726 w 3750"/>
                  <a:gd name="T61" fmla="*/ 1121 h 3108"/>
                  <a:gd name="T62" fmla="*/ 2893 w 3750"/>
                  <a:gd name="T63" fmla="*/ 1112 h 3108"/>
                  <a:gd name="T64" fmla="*/ 2907 w 3750"/>
                  <a:gd name="T65" fmla="*/ 1504 h 3108"/>
                  <a:gd name="T66" fmla="*/ 3288 w 3750"/>
                  <a:gd name="T67" fmla="*/ 1465 h 3108"/>
                  <a:gd name="T68" fmla="*/ 2924 w 3750"/>
                  <a:gd name="T69" fmla="*/ 1099 h 3108"/>
                  <a:gd name="T70" fmla="*/ 460 w 3750"/>
                  <a:gd name="T71" fmla="*/ 1465 h 3108"/>
                  <a:gd name="T72" fmla="*/ 841 w 3750"/>
                  <a:gd name="T73" fmla="*/ 1504 h 3108"/>
                  <a:gd name="T74" fmla="*/ 855 w 3750"/>
                  <a:gd name="T75" fmla="*/ 1112 h 3108"/>
                  <a:gd name="T76" fmla="*/ 2076 w 3750"/>
                  <a:gd name="T77" fmla="*/ 557 h 3108"/>
                  <a:gd name="T78" fmla="*/ 2090 w 3750"/>
                  <a:gd name="T79" fmla="*/ 949 h 3108"/>
                  <a:gd name="T80" fmla="*/ 2471 w 3750"/>
                  <a:gd name="T81" fmla="*/ 909 h 3108"/>
                  <a:gd name="T82" fmla="*/ 2107 w 3750"/>
                  <a:gd name="T83" fmla="*/ 544 h 3108"/>
                  <a:gd name="T84" fmla="*/ 1332 w 3750"/>
                  <a:gd name="T85" fmla="*/ 909 h 3108"/>
                  <a:gd name="T86" fmla="*/ 1713 w 3750"/>
                  <a:gd name="T87" fmla="*/ 949 h 3108"/>
                  <a:gd name="T88" fmla="*/ 1726 w 3750"/>
                  <a:gd name="T89" fmla="*/ 557 h 3108"/>
                  <a:gd name="T90" fmla="*/ 2787 w 3750"/>
                  <a:gd name="T91" fmla="*/ 2 h 3108"/>
                  <a:gd name="T92" fmla="*/ 2820 w 3750"/>
                  <a:gd name="T93" fmla="*/ 165 h 3108"/>
                  <a:gd name="T94" fmla="*/ 2761 w 3750"/>
                  <a:gd name="T95" fmla="*/ 204 h 3108"/>
                  <a:gd name="T96" fmla="*/ 2754 w 3750"/>
                  <a:gd name="T97" fmla="*/ 620 h 3108"/>
                  <a:gd name="T98" fmla="*/ 2779 w 3750"/>
                  <a:gd name="T99" fmla="*/ 645 h 3108"/>
                  <a:gd name="T100" fmla="*/ 3621 w 3750"/>
                  <a:gd name="T101" fmla="*/ 716 h 3108"/>
                  <a:gd name="T102" fmla="*/ 3629 w 3750"/>
                  <a:gd name="T103" fmla="*/ 2878 h 3108"/>
                  <a:gd name="T104" fmla="*/ 3728 w 3750"/>
                  <a:gd name="T105" fmla="*/ 2899 h 3108"/>
                  <a:gd name="T106" fmla="*/ 3739 w 3750"/>
                  <a:gd name="T107" fmla="*/ 3087 h 3108"/>
                  <a:gd name="T108" fmla="*/ 22 w 3750"/>
                  <a:gd name="T109" fmla="*/ 3098 h 3108"/>
                  <a:gd name="T110" fmla="*/ 10 w 3750"/>
                  <a:gd name="T111" fmla="*/ 2912 h 3108"/>
                  <a:gd name="T112" fmla="*/ 112 w 3750"/>
                  <a:gd name="T113" fmla="*/ 2887 h 3108"/>
                  <a:gd name="T114" fmla="*/ 137 w 3750"/>
                  <a:gd name="T115" fmla="*/ 693 h 3108"/>
                  <a:gd name="T116" fmla="*/ 1037 w 3750"/>
                  <a:gd name="T117" fmla="*/ 643 h 3108"/>
                  <a:gd name="T118" fmla="*/ 1048 w 3750"/>
                  <a:gd name="T119" fmla="*/ 610 h 3108"/>
                  <a:gd name="T120" fmla="*/ 1046 w 3750"/>
                  <a:gd name="T121" fmla="*/ 209 h 3108"/>
                  <a:gd name="T122" fmla="*/ 1002 w 3750"/>
                  <a:gd name="T123" fmla="*/ 193 h 3108"/>
                  <a:gd name="T124" fmla="*/ 989 w 3750"/>
                  <a:gd name="T125" fmla="*/ 21 h 3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50" h="3108">
                    <a:moveTo>
                      <a:pt x="1657" y="2302"/>
                    </a:moveTo>
                    <a:lnTo>
                      <a:pt x="1640" y="2305"/>
                    </a:lnTo>
                    <a:lnTo>
                      <a:pt x="1626" y="2315"/>
                    </a:lnTo>
                    <a:lnTo>
                      <a:pt x="1617" y="2328"/>
                    </a:lnTo>
                    <a:lnTo>
                      <a:pt x="1613" y="2345"/>
                    </a:lnTo>
                    <a:lnTo>
                      <a:pt x="1613" y="2844"/>
                    </a:lnTo>
                    <a:lnTo>
                      <a:pt x="1617" y="2860"/>
                    </a:lnTo>
                    <a:lnTo>
                      <a:pt x="1626" y="2874"/>
                    </a:lnTo>
                    <a:lnTo>
                      <a:pt x="1640" y="2883"/>
                    </a:lnTo>
                    <a:lnTo>
                      <a:pt x="1657" y="2887"/>
                    </a:lnTo>
                    <a:lnTo>
                      <a:pt x="2155" y="2887"/>
                    </a:lnTo>
                    <a:lnTo>
                      <a:pt x="2171" y="2883"/>
                    </a:lnTo>
                    <a:lnTo>
                      <a:pt x="2184" y="2874"/>
                    </a:lnTo>
                    <a:lnTo>
                      <a:pt x="2193" y="2860"/>
                    </a:lnTo>
                    <a:lnTo>
                      <a:pt x="2197" y="2844"/>
                    </a:lnTo>
                    <a:lnTo>
                      <a:pt x="2197" y="2345"/>
                    </a:lnTo>
                    <a:lnTo>
                      <a:pt x="2193" y="2328"/>
                    </a:lnTo>
                    <a:lnTo>
                      <a:pt x="2184" y="2315"/>
                    </a:lnTo>
                    <a:lnTo>
                      <a:pt x="2171" y="2305"/>
                    </a:lnTo>
                    <a:lnTo>
                      <a:pt x="2155" y="2302"/>
                    </a:lnTo>
                    <a:lnTo>
                      <a:pt x="1657" y="2302"/>
                    </a:lnTo>
                    <a:close/>
                    <a:moveTo>
                      <a:pt x="2924" y="2210"/>
                    </a:moveTo>
                    <a:lnTo>
                      <a:pt x="2907" y="2213"/>
                    </a:lnTo>
                    <a:lnTo>
                      <a:pt x="2893" y="2222"/>
                    </a:lnTo>
                    <a:lnTo>
                      <a:pt x="2884" y="2236"/>
                    </a:lnTo>
                    <a:lnTo>
                      <a:pt x="2880" y="2253"/>
                    </a:lnTo>
                    <a:lnTo>
                      <a:pt x="2880" y="2575"/>
                    </a:lnTo>
                    <a:lnTo>
                      <a:pt x="2884" y="2592"/>
                    </a:lnTo>
                    <a:lnTo>
                      <a:pt x="2893" y="2605"/>
                    </a:lnTo>
                    <a:lnTo>
                      <a:pt x="2907" y="2615"/>
                    </a:lnTo>
                    <a:lnTo>
                      <a:pt x="2924" y="2618"/>
                    </a:lnTo>
                    <a:lnTo>
                      <a:pt x="3245" y="2618"/>
                    </a:lnTo>
                    <a:lnTo>
                      <a:pt x="3262" y="2615"/>
                    </a:lnTo>
                    <a:lnTo>
                      <a:pt x="3276" y="2605"/>
                    </a:lnTo>
                    <a:lnTo>
                      <a:pt x="3285" y="2592"/>
                    </a:lnTo>
                    <a:lnTo>
                      <a:pt x="3288" y="2575"/>
                    </a:lnTo>
                    <a:lnTo>
                      <a:pt x="3288" y="2253"/>
                    </a:lnTo>
                    <a:lnTo>
                      <a:pt x="3285" y="2236"/>
                    </a:lnTo>
                    <a:lnTo>
                      <a:pt x="3276" y="2222"/>
                    </a:lnTo>
                    <a:lnTo>
                      <a:pt x="3262" y="2213"/>
                    </a:lnTo>
                    <a:lnTo>
                      <a:pt x="3245" y="2210"/>
                    </a:lnTo>
                    <a:lnTo>
                      <a:pt x="2924" y="2210"/>
                    </a:lnTo>
                    <a:close/>
                    <a:moveTo>
                      <a:pt x="502" y="2210"/>
                    </a:moveTo>
                    <a:lnTo>
                      <a:pt x="487" y="2213"/>
                    </a:lnTo>
                    <a:lnTo>
                      <a:pt x="473" y="2222"/>
                    </a:lnTo>
                    <a:lnTo>
                      <a:pt x="463" y="2236"/>
                    </a:lnTo>
                    <a:lnTo>
                      <a:pt x="460" y="2253"/>
                    </a:lnTo>
                    <a:lnTo>
                      <a:pt x="460" y="2575"/>
                    </a:lnTo>
                    <a:lnTo>
                      <a:pt x="463" y="2592"/>
                    </a:lnTo>
                    <a:lnTo>
                      <a:pt x="473" y="2605"/>
                    </a:lnTo>
                    <a:lnTo>
                      <a:pt x="487" y="2615"/>
                    </a:lnTo>
                    <a:lnTo>
                      <a:pt x="502" y="2618"/>
                    </a:lnTo>
                    <a:lnTo>
                      <a:pt x="824" y="2618"/>
                    </a:lnTo>
                    <a:lnTo>
                      <a:pt x="841" y="2615"/>
                    </a:lnTo>
                    <a:lnTo>
                      <a:pt x="855" y="2605"/>
                    </a:lnTo>
                    <a:lnTo>
                      <a:pt x="864" y="2592"/>
                    </a:lnTo>
                    <a:lnTo>
                      <a:pt x="867" y="2575"/>
                    </a:lnTo>
                    <a:lnTo>
                      <a:pt x="867" y="2253"/>
                    </a:lnTo>
                    <a:lnTo>
                      <a:pt x="864" y="2236"/>
                    </a:lnTo>
                    <a:lnTo>
                      <a:pt x="855" y="2222"/>
                    </a:lnTo>
                    <a:lnTo>
                      <a:pt x="841" y="2213"/>
                    </a:lnTo>
                    <a:lnTo>
                      <a:pt x="824" y="2210"/>
                    </a:lnTo>
                    <a:lnTo>
                      <a:pt x="502" y="2210"/>
                    </a:lnTo>
                    <a:close/>
                    <a:moveTo>
                      <a:pt x="2924" y="1665"/>
                    </a:moveTo>
                    <a:lnTo>
                      <a:pt x="2907" y="1668"/>
                    </a:lnTo>
                    <a:lnTo>
                      <a:pt x="2893" y="1677"/>
                    </a:lnTo>
                    <a:lnTo>
                      <a:pt x="2884" y="1691"/>
                    </a:lnTo>
                    <a:lnTo>
                      <a:pt x="2880" y="1707"/>
                    </a:lnTo>
                    <a:lnTo>
                      <a:pt x="2880" y="2029"/>
                    </a:lnTo>
                    <a:lnTo>
                      <a:pt x="2884" y="2046"/>
                    </a:lnTo>
                    <a:lnTo>
                      <a:pt x="2893" y="2060"/>
                    </a:lnTo>
                    <a:lnTo>
                      <a:pt x="2907" y="2069"/>
                    </a:lnTo>
                    <a:lnTo>
                      <a:pt x="2924" y="2072"/>
                    </a:lnTo>
                    <a:lnTo>
                      <a:pt x="3245" y="2072"/>
                    </a:lnTo>
                    <a:lnTo>
                      <a:pt x="3262" y="2069"/>
                    </a:lnTo>
                    <a:lnTo>
                      <a:pt x="3276" y="2060"/>
                    </a:lnTo>
                    <a:lnTo>
                      <a:pt x="3285" y="2046"/>
                    </a:lnTo>
                    <a:lnTo>
                      <a:pt x="3288" y="2029"/>
                    </a:lnTo>
                    <a:lnTo>
                      <a:pt x="3288" y="1707"/>
                    </a:lnTo>
                    <a:lnTo>
                      <a:pt x="3285" y="1691"/>
                    </a:lnTo>
                    <a:lnTo>
                      <a:pt x="3276" y="1677"/>
                    </a:lnTo>
                    <a:lnTo>
                      <a:pt x="3262" y="1668"/>
                    </a:lnTo>
                    <a:lnTo>
                      <a:pt x="3245" y="1665"/>
                    </a:lnTo>
                    <a:lnTo>
                      <a:pt x="2924" y="1665"/>
                    </a:lnTo>
                    <a:close/>
                    <a:moveTo>
                      <a:pt x="502" y="1665"/>
                    </a:moveTo>
                    <a:lnTo>
                      <a:pt x="487" y="1668"/>
                    </a:lnTo>
                    <a:lnTo>
                      <a:pt x="473" y="1677"/>
                    </a:lnTo>
                    <a:lnTo>
                      <a:pt x="463" y="1691"/>
                    </a:lnTo>
                    <a:lnTo>
                      <a:pt x="460" y="1707"/>
                    </a:lnTo>
                    <a:lnTo>
                      <a:pt x="460" y="2029"/>
                    </a:lnTo>
                    <a:lnTo>
                      <a:pt x="463" y="2046"/>
                    </a:lnTo>
                    <a:lnTo>
                      <a:pt x="473" y="2060"/>
                    </a:lnTo>
                    <a:lnTo>
                      <a:pt x="487" y="2069"/>
                    </a:lnTo>
                    <a:lnTo>
                      <a:pt x="502" y="2072"/>
                    </a:lnTo>
                    <a:lnTo>
                      <a:pt x="824" y="2072"/>
                    </a:lnTo>
                    <a:lnTo>
                      <a:pt x="841" y="2069"/>
                    </a:lnTo>
                    <a:lnTo>
                      <a:pt x="855" y="2060"/>
                    </a:lnTo>
                    <a:lnTo>
                      <a:pt x="864" y="2046"/>
                    </a:lnTo>
                    <a:lnTo>
                      <a:pt x="867" y="2029"/>
                    </a:lnTo>
                    <a:lnTo>
                      <a:pt x="867" y="1707"/>
                    </a:lnTo>
                    <a:lnTo>
                      <a:pt x="864" y="1691"/>
                    </a:lnTo>
                    <a:lnTo>
                      <a:pt x="855" y="1677"/>
                    </a:lnTo>
                    <a:lnTo>
                      <a:pt x="841" y="1668"/>
                    </a:lnTo>
                    <a:lnTo>
                      <a:pt x="824" y="1665"/>
                    </a:lnTo>
                    <a:lnTo>
                      <a:pt x="502" y="1665"/>
                    </a:lnTo>
                    <a:close/>
                    <a:moveTo>
                      <a:pt x="2107" y="1654"/>
                    </a:moveTo>
                    <a:lnTo>
                      <a:pt x="2090" y="1658"/>
                    </a:lnTo>
                    <a:lnTo>
                      <a:pt x="2076" y="1667"/>
                    </a:lnTo>
                    <a:lnTo>
                      <a:pt x="2067" y="1681"/>
                    </a:lnTo>
                    <a:lnTo>
                      <a:pt x="2063" y="1698"/>
                    </a:lnTo>
                    <a:lnTo>
                      <a:pt x="2063" y="2020"/>
                    </a:lnTo>
                    <a:lnTo>
                      <a:pt x="2067" y="2036"/>
                    </a:lnTo>
                    <a:lnTo>
                      <a:pt x="2076" y="2050"/>
                    </a:lnTo>
                    <a:lnTo>
                      <a:pt x="2090" y="2059"/>
                    </a:lnTo>
                    <a:lnTo>
                      <a:pt x="2107" y="2062"/>
                    </a:lnTo>
                    <a:lnTo>
                      <a:pt x="2428" y="2062"/>
                    </a:lnTo>
                    <a:lnTo>
                      <a:pt x="2445" y="2059"/>
                    </a:lnTo>
                    <a:lnTo>
                      <a:pt x="2458" y="2050"/>
                    </a:lnTo>
                    <a:lnTo>
                      <a:pt x="2468" y="2036"/>
                    </a:lnTo>
                    <a:lnTo>
                      <a:pt x="2471" y="2020"/>
                    </a:lnTo>
                    <a:lnTo>
                      <a:pt x="2471" y="1698"/>
                    </a:lnTo>
                    <a:lnTo>
                      <a:pt x="2468" y="1681"/>
                    </a:lnTo>
                    <a:lnTo>
                      <a:pt x="2458" y="1667"/>
                    </a:lnTo>
                    <a:lnTo>
                      <a:pt x="2445" y="1658"/>
                    </a:lnTo>
                    <a:lnTo>
                      <a:pt x="2428" y="1654"/>
                    </a:lnTo>
                    <a:lnTo>
                      <a:pt x="2107" y="1654"/>
                    </a:lnTo>
                    <a:close/>
                    <a:moveTo>
                      <a:pt x="1375" y="1654"/>
                    </a:moveTo>
                    <a:lnTo>
                      <a:pt x="1358" y="1658"/>
                    </a:lnTo>
                    <a:lnTo>
                      <a:pt x="1344" y="1667"/>
                    </a:lnTo>
                    <a:lnTo>
                      <a:pt x="1335" y="1681"/>
                    </a:lnTo>
                    <a:lnTo>
                      <a:pt x="1332" y="1698"/>
                    </a:lnTo>
                    <a:lnTo>
                      <a:pt x="1332" y="2020"/>
                    </a:lnTo>
                    <a:lnTo>
                      <a:pt x="1335" y="2036"/>
                    </a:lnTo>
                    <a:lnTo>
                      <a:pt x="1344" y="2050"/>
                    </a:lnTo>
                    <a:lnTo>
                      <a:pt x="1358" y="2059"/>
                    </a:lnTo>
                    <a:lnTo>
                      <a:pt x="1375" y="2062"/>
                    </a:lnTo>
                    <a:lnTo>
                      <a:pt x="1697" y="2062"/>
                    </a:lnTo>
                    <a:lnTo>
                      <a:pt x="1713" y="2059"/>
                    </a:lnTo>
                    <a:lnTo>
                      <a:pt x="1726" y="2050"/>
                    </a:lnTo>
                    <a:lnTo>
                      <a:pt x="1736" y="2036"/>
                    </a:lnTo>
                    <a:lnTo>
                      <a:pt x="1740" y="2020"/>
                    </a:lnTo>
                    <a:lnTo>
                      <a:pt x="1740" y="1698"/>
                    </a:lnTo>
                    <a:lnTo>
                      <a:pt x="1736" y="1681"/>
                    </a:lnTo>
                    <a:lnTo>
                      <a:pt x="1726" y="1667"/>
                    </a:lnTo>
                    <a:lnTo>
                      <a:pt x="1713" y="1658"/>
                    </a:lnTo>
                    <a:lnTo>
                      <a:pt x="1697" y="1654"/>
                    </a:lnTo>
                    <a:lnTo>
                      <a:pt x="1375" y="1654"/>
                    </a:lnTo>
                    <a:close/>
                    <a:moveTo>
                      <a:pt x="2107" y="1109"/>
                    </a:moveTo>
                    <a:lnTo>
                      <a:pt x="2090" y="1112"/>
                    </a:lnTo>
                    <a:lnTo>
                      <a:pt x="2076" y="1121"/>
                    </a:lnTo>
                    <a:lnTo>
                      <a:pt x="2067" y="1135"/>
                    </a:lnTo>
                    <a:lnTo>
                      <a:pt x="2063" y="1152"/>
                    </a:lnTo>
                    <a:lnTo>
                      <a:pt x="2063" y="1474"/>
                    </a:lnTo>
                    <a:lnTo>
                      <a:pt x="2067" y="1491"/>
                    </a:lnTo>
                    <a:lnTo>
                      <a:pt x="2076" y="1505"/>
                    </a:lnTo>
                    <a:lnTo>
                      <a:pt x="2090" y="1514"/>
                    </a:lnTo>
                    <a:lnTo>
                      <a:pt x="2107" y="1517"/>
                    </a:lnTo>
                    <a:lnTo>
                      <a:pt x="2428" y="1517"/>
                    </a:lnTo>
                    <a:lnTo>
                      <a:pt x="2445" y="1514"/>
                    </a:lnTo>
                    <a:lnTo>
                      <a:pt x="2458" y="1505"/>
                    </a:lnTo>
                    <a:lnTo>
                      <a:pt x="2468" y="1491"/>
                    </a:lnTo>
                    <a:lnTo>
                      <a:pt x="2471" y="1474"/>
                    </a:lnTo>
                    <a:lnTo>
                      <a:pt x="2471" y="1152"/>
                    </a:lnTo>
                    <a:lnTo>
                      <a:pt x="2468" y="1135"/>
                    </a:lnTo>
                    <a:lnTo>
                      <a:pt x="2458" y="1121"/>
                    </a:lnTo>
                    <a:lnTo>
                      <a:pt x="2445" y="1112"/>
                    </a:lnTo>
                    <a:lnTo>
                      <a:pt x="2428" y="1109"/>
                    </a:lnTo>
                    <a:lnTo>
                      <a:pt x="2107" y="1109"/>
                    </a:lnTo>
                    <a:close/>
                    <a:moveTo>
                      <a:pt x="1375" y="1109"/>
                    </a:moveTo>
                    <a:lnTo>
                      <a:pt x="1358" y="1112"/>
                    </a:lnTo>
                    <a:lnTo>
                      <a:pt x="1344" y="1121"/>
                    </a:lnTo>
                    <a:lnTo>
                      <a:pt x="1335" y="1135"/>
                    </a:lnTo>
                    <a:lnTo>
                      <a:pt x="1332" y="1152"/>
                    </a:lnTo>
                    <a:lnTo>
                      <a:pt x="1332" y="1474"/>
                    </a:lnTo>
                    <a:lnTo>
                      <a:pt x="1335" y="1491"/>
                    </a:lnTo>
                    <a:lnTo>
                      <a:pt x="1344" y="1505"/>
                    </a:lnTo>
                    <a:lnTo>
                      <a:pt x="1358" y="1514"/>
                    </a:lnTo>
                    <a:lnTo>
                      <a:pt x="1375" y="1517"/>
                    </a:lnTo>
                    <a:lnTo>
                      <a:pt x="1697" y="1517"/>
                    </a:lnTo>
                    <a:lnTo>
                      <a:pt x="1713" y="1514"/>
                    </a:lnTo>
                    <a:lnTo>
                      <a:pt x="1726" y="1505"/>
                    </a:lnTo>
                    <a:lnTo>
                      <a:pt x="1736" y="1491"/>
                    </a:lnTo>
                    <a:lnTo>
                      <a:pt x="1740" y="1474"/>
                    </a:lnTo>
                    <a:lnTo>
                      <a:pt x="1740" y="1152"/>
                    </a:lnTo>
                    <a:lnTo>
                      <a:pt x="1736" y="1135"/>
                    </a:lnTo>
                    <a:lnTo>
                      <a:pt x="1726" y="1121"/>
                    </a:lnTo>
                    <a:lnTo>
                      <a:pt x="1713" y="1112"/>
                    </a:lnTo>
                    <a:lnTo>
                      <a:pt x="1697" y="1109"/>
                    </a:lnTo>
                    <a:lnTo>
                      <a:pt x="1375" y="1109"/>
                    </a:lnTo>
                    <a:close/>
                    <a:moveTo>
                      <a:pt x="2924" y="1099"/>
                    </a:moveTo>
                    <a:lnTo>
                      <a:pt x="2907" y="1103"/>
                    </a:lnTo>
                    <a:lnTo>
                      <a:pt x="2893" y="1112"/>
                    </a:lnTo>
                    <a:lnTo>
                      <a:pt x="2884" y="1126"/>
                    </a:lnTo>
                    <a:lnTo>
                      <a:pt x="2880" y="1142"/>
                    </a:lnTo>
                    <a:lnTo>
                      <a:pt x="2880" y="1465"/>
                    </a:lnTo>
                    <a:lnTo>
                      <a:pt x="2884" y="1481"/>
                    </a:lnTo>
                    <a:lnTo>
                      <a:pt x="2893" y="1495"/>
                    </a:lnTo>
                    <a:lnTo>
                      <a:pt x="2907" y="1504"/>
                    </a:lnTo>
                    <a:lnTo>
                      <a:pt x="2924" y="1507"/>
                    </a:lnTo>
                    <a:lnTo>
                      <a:pt x="3245" y="1507"/>
                    </a:lnTo>
                    <a:lnTo>
                      <a:pt x="3262" y="1504"/>
                    </a:lnTo>
                    <a:lnTo>
                      <a:pt x="3276" y="1495"/>
                    </a:lnTo>
                    <a:lnTo>
                      <a:pt x="3285" y="1481"/>
                    </a:lnTo>
                    <a:lnTo>
                      <a:pt x="3288" y="1465"/>
                    </a:lnTo>
                    <a:lnTo>
                      <a:pt x="3288" y="1142"/>
                    </a:lnTo>
                    <a:lnTo>
                      <a:pt x="3285" y="1126"/>
                    </a:lnTo>
                    <a:lnTo>
                      <a:pt x="3276" y="1112"/>
                    </a:lnTo>
                    <a:lnTo>
                      <a:pt x="3262" y="1103"/>
                    </a:lnTo>
                    <a:lnTo>
                      <a:pt x="3245" y="1099"/>
                    </a:lnTo>
                    <a:lnTo>
                      <a:pt x="2924" y="1099"/>
                    </a:lnTo>
                    <a:close/>
                    <a:moveTo>
                      <a:pt x="502" y="1099"/>
                    </a:moveTo>
                    <a:lnTo>
                      <a:pt x="487" y="1103"/>
                    </a:lnTo>
                    <a:lnTo>
                      <a:pt x="473" y="1112"/>
                    </a:lnTo>
                    <a:lnTo>
                      <a:pt x="463" y="1126"/>
                    </a:lnTo>
                    <a:lnTo>
                      <a:pt x="460" y="1142"/>
                    </a:lnTo>
                    <a:lnTo>
                      <a:pt x="460" y="1465"/>
                    </a:lnTo>
                    <a:lnTo>
                      <a:pt x="463" y="1481"/>
                    </a:lnTo>
                    <a:lnTo>
                      <a:pt x="473" y="1495"/>
                    </a:lnTo>
                    <a:lnTo>
                      <a:pt x="487" y="1504"/>
                    </a:lnTo>
                    <a:lnTo>
                      <a:pt x="502" y="1507"/>
                    </a:lnTo>
                    <a:lnTo>
                      <a:pt x="824" y="1507"/>
                    </a:lnTo>
                    <a:lnTo>
                      <a:pt x="841" y="1504"/>
                    </a:lnTo>
                    <a:lnTo>
                      <a:pt x="855" y="1495"/>
                    </a:lnTo>
                    <a:lnTo>
                      <a:pt x="864" y="1481"/>
                    </a:lnTo>
                    <a:lnTo>
                      <a:pt x="867" y="1465"/>
                    </a:lnTo>
                    <a:lnTo>
                      <a:pt x="867" y="1142"/>
                    </a:lnTo>
                    <a:lnTo>
                      <a:pt x="864" y="1126"/>
                    </a:lnTo>
                    <a:lnTo>
                      <a:pt x="855" y="1112"/>
                    </a:lnTo>
                    <a:lnTo>
                      <a:pt x="841" y="1103"/>
                    </a:lnTo>
                    <a:lnTo>
                      <a:pt x="824" y="1099"/>
                    </a:lnTo>
                    <a:lnTo>
                      <a:pt x="502" y="1099"/>
                    </a:lnTo>
                    <a:close/>
                    <a:moveTo>
                      <a:pt x="2107" y="544"/>
                    </a:moveTo>
                    <a:lnTo>
                      <a:pt x="2090" y="548"/>
                    </a:lnTo>
                    <a:lnTo>
                      <a:pt x="2076" y="557"/>
                    </a:lnTo>
                    <a:lnTo>
                      <a:pt x="2067" y="571"/>
                    </a:lnTo>
                    <a:lnTo>
                      <a:pt x="2063" y="587"/>
                    </a:lnTo>
                    <a:lnTo>
                      <a:pt x="2063" y="909"/>
                    </a:lnTo>
                    <a:lnTo>
                      <a:pt x="2067" y="926"/>
                    </a:lnTo>
                    <a:lnTo>
                      <a:pt x="2076" y="940"/>
                    </a:lnTo>
                    <a:lnTo>
                      <a:pt x="2090" y="949"/>
                    </a:lnTo>
                    <a:lnTo>
                      <a:pt x="2107" y="952"/>
                    </a:lnTo>
                    <a:lnTo>
                      <a:pt x="2428" y="952"/>
                    </a:lnTo>
                    <a:lnTo>
                      <a:pt x="2445" y="949"/>
                    </a:lnTo>
                    <a:lnTo>
                      <a:pt x="2458" y="940"/>
                    </a:lnTo>
                    <a:lnTo>
                      <a:pt x="2468" y="926"/>
                    </a:lnTo>
                    <a:lnTo>
                      <a:pt x="2471" y="909"/>
                    </a:lnTo>
                    <a:lnTo>
                      <a:pt x="2471" y="587"/>
                    </a:lnTo>
                    <a:lnTo>
                      <a:pt x="2468" y="571"/>
                    </a:lnTo>
                    <a:lnTo>
                      <a:pt x="2458" y="557"/>
                    </a:lnTo>
                    <a:lnTo>
                      <a:pt x="2445" y="548"/>
                    </a:lnTo>
                    <a:lnTo>
                      <a:pt x="2428" y="544"/>
                    </a:lnTo>
                    <a:lnTo>
                      <a:pt x="2107" y="544"/>
                    </a:lnTo>
                    <a:close/>
                    <a:moveTo>
                      <a:pt x="1375" y="544"/>
                    </a:moveTo>
                    <a:lnTo>
                      <a:pt x="1358" y="548"/>
                    </a:lnTo>
                    <a:lnTo>
                      <a:pt x="1344" y="557"/>
                    </a:lnTo>
                    <a:lnTo>
                      <a:pt x="1335" y="571"/>
                    </a:lnTo>
                    <a:lnTo>
                      <a:pt x="1332" y="587"/>
                    </a:lnTo>
                    <a:lnTo>
                      <a:pt x="1332" y="909"/>
                    </a:lnTo>
                    <a:lnTo>
                      <a:pt x="1335" y="926"/>
                    </a:lnTo>
                    <a:lnTo>
                      <a:pt x="1344" y="940"/>
                    </a:lnTo>
                    <a:lnTo>
                      <a:pt x="1358" y="949"/>
                    </a:lnTo>
                    <a:lnTo>
                      <a:pt x="1375" y="952"/>
                    </a:lnTo>
                    <a:lnTo>
                      <a:pt x="1697" y="952"/>
                    </a:lnTo>
                    <a:lnTo>
                      <a:pt x="1713" y="949"/>
                    </a:lnTo>
                    <a:lnTo>
                      <a:pt x="1726" y="940"/>
                    </a:lnTo>
                    <a:lnTo>
                      <a:pt x="1736" y="926"/>
                    </a:lnTo>
                    <a:lnTo>
                      <a:pt x="1740" y="909"/>
                    </a:lnTo>
                    <a:lnTo>
                      <a:pt x="1740" y="587"/>
                    </a:lnTo>
                    <a:lnTo>
                      <a:pt x="1736" y="571"/>
                    </a:lnTo>
                    <a:lnTo>
                      <a:pt x="1726" y="557"/>
                    </a:lnTo>
                    <a:lnTo>
                      <a:pt x="1713" y="548"/>
                    </a:lnTo>
                    <a:lnTo>
                      <a:pt x="1697" y="544"/>
                    </a:lnTo>
                    <a:lnTo>
                      <a:pt x="1375" y="544"/>
                    </a:lnTo>
                    <a:close/>
                    <a:moveTo>
                      <a:pt x="1032" y="0"/>
                    </a:moveTo>
                    <a:lnTo>
                      <a:pt x="2770" y="0"/>
                    </a:lnTo>
                    <a:lnTo>
                      <a:pt x="2787" y="2"/>
                    </a:lnTo>
                    <a:lnTo>
                      <a:pt x="2801" y="10"/>
                    </a:lnTo>
                    <a:lnTo>
                      <a:pt x="2813" y="21"/>
                    </a:lnTo>
                    <a:lnTo>
                      <a:pt x="2820" y="36"/>
                    </a:lnTo>
                    <a:lnTo>
                      <a:pt x="2823" y="53"/>
                    </a:lnTo>
                    <a:lnTo>
                      <a:pt x="2823" y="149"/>
                    </a:lnTo>
                    <a:lnTo>
                      <a:pt x="2820" y="165"/>
                    </a:lnTo>
                    <a:lnTo>
                      <a:pt x="2813" y="180"/>
                    </a:lnTo>
                    <a:lnTo>
                      <a:pt x="2801" y="193"/>
                    </a:lnTo>
                    <a:lnTo>
                      <a:pt x="2787" y="200"/>
                    </a:lnTo>
                    <a:lnTo>
                      <a:pt x="2770" y="203"/>
                    </a:lnTo>
                    <a:lnTo>
                      <a:pt x="2764" y="203"/>
                    </a:lnTo>
                    <a:lnTo>
                      <a:pt x="2761" y="204"/>
                    </a:lnTo>
                    <a:lnTo>
                      <a:pt x="2757" y="204"/>
                    </a:lnTo>
                    <a:lnTo>
                      <a:pt x="2756" y="206"/>
                    </a:lnTo>
                    <a:lnTo>
                      <a:pt x="2755" y="208"/>
                    </a:lnTo>
                    <a:lnTo>
                      <a:pt x="2754" y="210"/>
                    </a:lnTo>
                    <a:lnTo>
                      <a:pt x="2754" y="211"/>
                    </a:lnTo>
                    <a:lnTo>
                      <a:pt x="2754" y="620"/>
                    </a:lnTo>
                    <a:lnTo>
                      <a:pt x="2754" y="621"/>
                    </a:lnTo>
                    <a:lnTo>
                      <a:pt x="2754" y="626"/>
                    </a:lnTo>
                    <a:lnTo>
                      <a:pt x="2756" y="632"/>
                    </a:lnTo>
                    <a:lnTo>
                      <a:pt x="2761" y="638"/>
                    </a:lnTo>
                    <a:lnTo>
                      <a:pt x="2768" y="643"/>
                    </a:lnTo>
                    <a:lnTo>
                      <a:pt x="2779" y="645"/>
                    </a:lnTo>
                    <a:lnTo>
                      <a:pt x="3528" y="645"/>
                    </a:lnTo>
                    <a:lnTo>
                      <a:pt x="3553" y="648"/>
                    </a:lnTo>
                    <a:lnTo>
                      <a:pt x="3575" y="659"/>
                    </a:lnTo>
                    <a:lnTo>
                      <a:pt x="3596" y="673"/>
                    </a:lnTo>
                    <a:lnTo>
                      <a:pt x="3611" y="693"/>
                    </a:lnTo>
                    <a:lnTo>
                      <a:pt x="3621" y="716"/>
                    </a:lnTo>
                    <a:lnTo>
                      <a:pt x="3624" y="742"/>
                    </a:lnTo>
                    <a:lnTo>
                      <a:pt x="3624" y="2859"/>
                    </a:lnTo>
                    <a:lnTo>
                      <a:pt x="3624" y="2860"/>
                    </a:lnTo>
                    <a:lnTo>
                      <a:pt x="3624" y="2865"/>
                    </a:lnTo>
                    <a:lnTo>
                      <a:pt x="3626" y="2871"/>
                    </a:lnTo>
                    <a:lnTo>
                      <a:pt x="3629" y="2878"/>
                    </a:lnTo>
                    <a:lnTo>
                      <a:pt x="3634" y="2883"/>
                    </a:lnTo>
                    <a:lnTo>
                      <a:pt x="3640" y="2888"/>
                    </a:lnTo>
                    <a:lnTo>
                      <a:pt x="3649" y="2889"/>
                    </a:lnTo>
                    <a:lnTo>
                      <a:pt x="3696" y="2889"/>
                    </a:lnTo>
                    <a:lnTo>
                      <a:pt x="3713" y="2892"/>
                    </a:lnTo>
                    <a:lnTo>
                      <a:pt x="3728" y="2899"/>
                    </a:lnTo>
                    <a:lnTo>
                      <a:pt x="3739" y="2912"/>
                    </a:lnTo>
                    <a:lnTo>
                      <a:pt x="3747" y="2926"/>
                    </a:lnTo>
                    <a:lnTo>
                      <a:pt x="3750" y="2943"/>
                    </a:lnTo>
                    <a:lnTo>
                      <a:pt x="3750" y="3055"/>
                    </a:lnTo>
                    <a:lnTo>
                      <a:pt x="3747" y="3072"/>
                    </a:lnTo>
                    <a:lnTo>
                      <a:pt x="3739" y="3087"/>
                    </a:lnTo>
                    <a:lnTo>
                      <a:pt x="3728" y="3098"/>
                    </a:lnTo>
                    <a:lnTo>
                      <a:pt x="3713" y="3106"/>
                    </a:lnTo>
                    <a:lnTo>
                      <a:pt x="3696" y="3108"/>
                    </a:lnTo>
                    <a:lnTo>
                      <a:pt x="54" y="3108"/>
                    </a:lnTo>
                    <a:lnTo>
                      <a:pt x="36" y="3106"/>
                    </a:lnTo>
                    <a:lnTo>
                      <a:pt x="22" y="3098"/>
                    </a:lnTo>
                    <a:lnTo>
                      <a:pt x="10" y="3087"/>
                    </a:lnTo>
                    <a:lnTo>
                      <a:pt x="2" y="3072"/>
                    </a:lnTo>
                    <a:lnTo>
                      <a:pt x="0" y="3055"/>
                    </a:lnTo>
                    <a:lnTo>
                      <a:pt x="0" y="2943"/>
                    </a:lnTo>
                    <a:lnTo>
                      <a:pt x="2" y="2926"/>
                    </a:lnTo>
                    <a:lnTo>
                      <a:pt x="10" y="2912"/>
                    </a:lnTo>
                    <a:lnTo>
                      <a:pt x="22" y="2899"/>
                    </a:lnTo>
                    <a:lnTo>
                      <a:pt x="36" y="2892"/>
                    </a:lnTo>
                    <a:lnTo>
                      <a:pt x="54" y="2889"/>
                    </a:lnTo>
                    <a:lnTo>
                      <a:pt x="91" y="2889"/>
                    </a:lnTo>
                    <a:lnTo>
                      <a:pt x="103" y="2889"/>
                    </a:lnTo>
                    <a:lnTo>
                      <a:pt x="112" y="2887"/>
                    </a:lnTo>
                    <a:lnTo>
                      <a:pt x="118" y="2882"/>
                    </a:lnTo>
                    <a:lnTo>
                      <a:pt x="122" y="2876"/>
                    </a:lnTo>
                    <a:lnTo>
                      <a:pt x="124" y="2866"/>
                    </a:lnTo>
                    <a:lnTo>
                      <a:pt x="124" y="742"/>
                    </a:lnTo>
                    <a:lnTo>
                      <a:pt x="128" y="716"/>
                    </a:lnTo>
                    <a:lnTo>
                      <a:pt x="137" y="693"/>
                    </a:lnTo>
                    <a:lnTo>
                      <a:pt x="152" y="673"/>
                    </a:lnTo>
                    <a:lnTo>
                      <a:pt x="172" y="659"/>
                    </a:lnTo>
                    <a:lnTo>
                      <a:pt x="195" y="648"/>
                    </a:lnTo>
                    <a:lnTo>
                      <a:pt x="220" y="645"/>
                    </a:lnTo>
                    <a:lnTo>
                      <a:pt x="1028" y="645"/>
                    </a:lnTo>
                    <a:lnTo>
                      <a:pt x="1037" y="643"/>
                    </a:lnTo>
                    <a:lnTo>
                      <a:pt x="1043" y="638"/>
                    </a:lnTo>
                    <a:lnTo>
                      <a:pt x="1046" y="631"/>
                    </a:lnTo>
                    <a:lnTo>
                      <a:pt x="1047" y="623"/>
                    </a:lnTo>
                    <a:lnTo>
                      <a:pt x="1048" y="616"/>
                    </a:lnTo>
                    <a:lnTo>
                      <a:pt x="1048" y="612"/>
                    </a:lnTo>
                    <a:lnTo>
                      <a:pt x="1048" y="610"/>
                    </a:lnTo>
                    <a:lnTo>
                      <a:pt x="1048" y="218"/>
                    </a:lnTo>
                    <a:lnTo>
                      <a:pt x="1048" y="217"/>
                    </a:lnTo>
                    <a:lnTo>
                      <a:pt x="1048" y="216"/>
                    </a:lnTo>
                    <a:lnTo>
                      <a:pt x="1048" y="213"/>
                    </a:lnTo>
                    <a:lnTo>
                      <a:pt x="1047" y="211"/>
                    </a:lnTo>
                    <a:lnTo>
                      <a:pt x="1046" y="209"/>
                    </a:lnTo>
                    <a:lnTo>
                      <a:pt x="1044" y="206"/>
                    </a:lnTo>
                    <a:lnTo>
                      <a:pt x="1041" y="204"/>
                    </a:lnTo>
                    <a:lnTo>
                      <a:pt x="1037" y="203"/>
                    </a:lnTo>
                    <a:lnTo>
                      <a:pt x="1032" y="203"/>
                    </a:lnTo>
                    <a:lnTo>
                      <a:pt x="1015" y="200"/>
                    </a:lnTo>
                    <a:lnTo>
                      <a:pt x="1002" y="193"/>
                    </a:lnTo>
                    <a:lnTo>
                      <a:pt x="989" y="180"/>
                    </a:lnTo>
                    <a:lnTo>
                      <a:pt x="982" y="165"/>
                    </a:lnTo>
                    <a:lnTo>
                      <a:pt x="979" y="149"/>
                    </a:lnTo>
                    <a:lnTo>
                      <a:pt x="979" y="53"/>
                    </a:lnTo>
                    <a:lnTo>
                      <a:pt x="982" y="36"/>
                    </a:lnTo>
                    <a:lnTo>
                      <a:pt x="989" y="21"/>
                    </a:lnTo>
                    <a:lnTo>
                      <a:pt x="1002" y="10"/>
                    </a:lnTo>
                    <a:lnTo>
                      <a:pt x="1015" y="2"/>
                    </a:lnTo>
                    <a:lnTo>
                      <a:pt x="1032" y="0"/>
                    </a:lnTo>
                    <a:close/>
                  </a:path>
                </a:pathLst>
              </a:custGeom>
              <a:solidFill>
                <a:srgbClr val="02467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39BAA5E8-373D-4EDE-8270-1FAD3B319BED}"/>
                  </a:ext>
                </a:extLst>
              </p:cNvPr>
              <p:cNvSpPr/>
              <p:nvPr/>
            </p:nvSpPr>
            <p:spPr>
              <a:xfrm>
                <a:off x="8921129" y="400890"/>
                <a:ext cx="3708000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London, United Kingdom</a:t>
                </a: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 </a:t>
                </a:r>
                <a:r>
                  <a:rPr kumimoji="0" lang="en-ZA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| Corporate Office</a:t>
                </a: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AA31955-84AE-4F42-9A74-B56D731F4169}"/>
              </a:ext>
            </a:extLst>
          </p:cNvPr>
          <p:cNvGrpSpPr/>
          <p:nvPr/>
        </p:nvGrpSpPr>
        <p:grpSpPr>
          <a:xfrm>
            <a:off x="-348407" y="1511853"/>
            <a:ext cx="10987004" cy="5024360"/>
            <a:chOff x="-141138" y="992653"/>
            <a:chExt cx="10987004" cy="502436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775798E-E574-4851-83C2-98CA388E7A6B}"/>
                </a:ext>
              </a:extLst>
            </p:cNvPr>
            <p:cNvGrpSpPr/>
            <p:nvPr/>
          </p:nvGrpSpPr>
          <p:grpSpPr>
            <a:xfrm>
              <a:off x="3557632" y="1489139"/>
              <a:ext cx="4428975" cy="3834561"/>
              <a:chOff x="2958599" y="1823152"/>
              <a:chExt cx="4718391" cy="3867047"/>
            </a:xfrm>
          </p:grpSpPr>
          <p:sp>
            <p:nvSpPr>
              <p:cNvPr id="253" name="Freeform 104">
                <a:extLst>
                  <a:ext uri="{FF2B5EF4-FFF2-40B4-BE49-F238E27FC236}">
                    <a16:creationId xmlns:a16="http://schemas.microsoft.com/office/drawing/2014/main" id="{73A55DC2-F72F-46B0-9349-33D110C50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647" y="2044763"/>
                <a:ext cx="802521" cy="726464"/>
              </a:xfrm>
              <a:custGeom>
                <a:avLst/>
                <a:gdLst/>
                <a:ahLst/>
                <a:cxnLst>
                  <a:cxn ang="0">
                    <a:pos x="2771" y="245"/>
                  </a:cxn>
                  <a:cxn ang="0">
                    <a:pos x="2790" y="466"/>
                  </a:cxn>
                  <a:cxn ang="0">
                    <a:pos x="2728" y="586"/>
                  </a:cxn>
                  <a:cxn ang="0">
                    <a:pos x="2790" y="715"/>
                  </a:cxn>
                  <a:cxn ang="0">
                    <a:pos x="2833" y="2107"/>
                  </a:cxn>
                  <a:cxn ang="0">
                    <a:pos x="2833" y="2470"/>
                  </a:cxn>
                  <a:cxn ang="0">
                    <a:pos x="2651" y="2470"/>
                  </a:cxn>
                  <a:cxn ang="0">
                    <a:pos x="2656" y="2597"/>
                  </a:cxn>
                  <a:cxn ang="0">
                    <a:pos x="1158" y="1819"/>
                  </a:cxn>
                  <a:cxn ang="0">
                    <a:pos x="990" y="1910"/>
                  </a:cxn>
                  <a:cxn ang="0">
                    <a:pos x="830" y="1980"/>
                  </a:cxn>
                  <a:cxn ang="0">
                    <a:pos x="722" y="1877"/>
                  </a:cxn>
                  <a:cxn ang="0">
                    <a:pos x="450" y="1812"/>
                  </a:cxn>
                  <a:cxn ang="0">
                    <a:pos x="390" y="1691"/>
                  </a:cxn>
                  <a:cxn ang="0">
                    <a:pos x="284" y="1608"/>
                  </a:cxn>
                  <a:cxn ang="0">
                    <a:pos x="155" y="1622"/>
                  </a:cxn>
                  <a:cxn ang="0">
                    <a:pos x="98" y="1547"/>
                  </a:cxn>
                  <a:cxn ang="0">
                    <a:pos x="116" y="1457"/>
                  </a:cxn>
                  <a:cxn ang="0">
                    <a:pos x="0" y="1302"/>
                  </a:cxn>
                  <a:cxn ang="0">
                    <a:pos x="122" y="1224"/>
                  </a:cxn>
                  <a:cxn ang="0">
                    <a:pos x="74" y="1095"/>
                  </a:cxn>
                  <a:cxn ang="0">
                    <a:pos x="120" y="983"/>
                  </a:cxn>
                  <a:cxn ang="0">
                    <a:pos x="92" y="894"/>
                  </a:cxn>
                  <a:cxn ang="0">
                    <a:pos x="132" y="759"/>
                  </a:cxn>
                  <a:cxn ang="0">
                    <a:pos x="66" y="567"/>
                  </a:cxn>
                  <a:cxn ang="0">
                    <a:pos x="63" y="524"/>
                  </a:cxn>
                  <a:cxn ang="0">
                    <a:pos x="145" y="504"/>
                  </a:cxn>
                  <a:cxn ang="0">
                    <a:pos x="222" y="437"/>
                  </a:cxn>
                  <a:cxn ang="0">
                    <a:pos x="193" y="283"/>
                  </a:cxn>
                  <a:cxn ang="0">
                    <a:pos x="332" y="182"/>
                  </a:cxn>
                  <a:cxn ang="0">
                    <a:pos x="452" y="130"/>
                  </a:cxn>
                  <a:cxn ang="0">
                    <a:pos x="457" y="0"/>
                  </a:cxn>
                  <a:cxn ang="0">
                    <a:pos x="587" y="58"/>
                  </a:cxn>
                  <a:cxn ang="0">
                    <a:pos x="837" y="66"/>
                  </a:cxn>
                  <a:cxn ang="0">
                    <a:pos x="966" y="134"/>
                  </a:cxn>
                  <a:cxn ang="0">
                    <a:pos x="1105" y="163"/>
                  </a:cxn>
                  <a:cxn ang="0">
                    <a:pos x="1115" y="259"/>
                  </a:cxn>
                  <a:cxn ang="0">
                    <a:pos x="1168" y="336"/>
                  </a:cxn>
                  <a:cxn ang="0">
                    <a:pos x="1268" y="370"/>
                  </a:cxn>
                  <a:cxn ang="0">
                    <a:pos x="1384" y="374"/>
                  </a:cxn>
                  <a:cxn ang="0">
                    <a:pos x="1580" y="446"/>
                  </a:cxn>
                  <a:cxn ang="0">
                    <a:pos x="1715" y="566"/>
                  </a:cxn>
                  <a:cxn ang="0">
                    <a:pos x="1835" y="533"/>
                  </a:cxn>
                  <a:cxn ang="0">
                    <a:pos x="1921" y="432"/>
                  </a:cxn>
                  <a:cxn ang="0">
                    <a:pos x="1926" y="350"/>
                  </a:cxn>
                  <a:cxn ang="0">
                    <a:pos x="1892" y="250"/>
                  </a:cxn>
                  <a:cxn ang="0">
                    <a:pos x="1979" y="120"/>
                  </a:cxn>
                  <a:cxn ang="0">
                    <a:pos x="2128" y="77"/>
                  </a:cxn>
                  <a:cxn ang="0">
                    <a:pos x="2396" y="86"/>
                  </a:cxn>
                  <a:cxn ang="0">
                    <a:pos x="2444" y="163"/>
                  </a:cxn>
                  <a:cxn ang="0">
                    <a:pos x="2515" y="202"/>
                  </a:cxn>
                  <a:cxn ang="0">
                    <a:pos x="2771" y="245"/>
                  </a:cxn>
                </a:cxnLst>
                <a:rect l="0" t="0" r="r" b="b"/>
                <a:pathLst>
                  <a:path w="2833" h="2597">
                    <a:moveTo>
                      <a:pt x="2771" y="245"/>
                    </a:moveTo>
                    <a:lnTo>
                      <a:pt x="2790" y="466"/>
                    </a:lnTo>
                    <a:lnTo>
                      <a:pt x="2728" y="586"/>
                    </a:lnTo>
                    <a:lnTo>
                      <a:pt x="2790" y="715"/>
                    </a:lnTo>
                    <a:lnTo>
                      <a:pt x="2833" y="2107"/>
                    </a:lnTo>
                    <a:lnTo>
                      <a:pt x="2833" y="2470"/>
                    </a:lnTo>
                    <a:lnTo>
                      <a:pt x="2651" y="2470"/>
                    </a:lnTo>
                    <a:lnTo>
                      <a:pt x="2656" y="2597"/>
                    </a:lnTo>
                    <a:lnTo>
                      <a:pt x="1158" y="1819"/>
                    </a:lnTo>
                    <a:lnTo>
                      <a:pt x="990" y="1910"/>
                    </a:lnTo>
                    <a:lnTo>
                      <a:pt x="830" y="1980"/>
                    </a:lnTo>
                    <a:lnTo>
                      <a:pt x="722" y="1877"/>
                    </a:lnTo>
                    <a:lnTo>
                      <a:pt x="450" y="1812"/>
                    </a:lnTo>
                    <a:lnTo>
                      <a:pt x="390" y="1691"/>
                    </a:lnTo>
                    <a:lnTo>
                      <a:pt x="284" y="1608"/>
                    </a:lnTo>
                    <a:lnTo>
                      <a:pt x="155" y="1622"/>
                    </a:lnTo>
                    <a:lnTo>
                      <a:pt x="98" y="1547"/>
                    </a:lnTo>
                    <a:lnTo>
                      <a:pt x="116" y="1457"/>
                    </a:lnTo>
                    <a:lnTo>
                      <a:pt x="0" y="1302"/>
                    </a:lnTo>
                    <a:lnTo>
                      <a:pt x="122" y="1224"/>
                    </a:lnTo>
                    <a:lnTo>
                      <a:pt x="74" y="1095"/>
                    </a:lnTo>
                    <a:lnTo>
                      <a:pt x="120" y="983"/>
                    </a:lnTo>
                    <a:lnTo>
                      <a:pt x="92" y="894"/>
                    </a:lnTo>
                    <a:lnTo>
                      <a:pt x="132" y="759"/>
                    </a:lnTo>
                    <a:lnTo>
                      <a:pt x="66" y="567"/>
                    </a:lnTo>
                    <a:lnTo>
                      <a:pt x="63" y="524"/>
                    </a:lnTo>
                    <a:lnTo>
                      <a:pt x="145" y="504"/>
                    </a:lnTo>
                    <a:lnTo>
                      <a:pt x="222" y="437"/>
                    </a:lnTo>
                    <a:lnTo>
                      <a:pt x="193" y="283"/>
                    </a:lnTo>
                    <a:lnTo>
                      <a:pt x="332" y="182"/>
                    </a:lnTo>
                    <a:lnTo>
                      <a:pt x="452" y="130"/>
                    </a:lnTo>
                    <a:lnTo>
                      <a:pt x="457" y="0"/>
                    </a:lnTo>
                    <a:lnTo>
                      <a:pt x="587" y="58"/>
                    </a:lnTo>
                    <a:lnTo>
                      <a:pt x="837" y="66"/>
                    </a:lnTo>
                    <a:lnTo>
                      <a:pt x="966" y="134"/>
                    </a:lnTo>
                    <a:lnTo>
                      <a:pt x="1105" y="163"/>
                    </a:lnTo>
                    <a:lnTo>
                      <a:pt x="1115" y="259"/>
                    </a:lnTo>
                    <a:lnTo>
                      <a:pt x="1168" y="336"/>
                    </a:lnTo>
                    <a:lnTo>
                      <a:pt x="1268" y="370"/>
                    </a:lnTo>
                    <a:lnTo>
                      <a:pt x="1384" y="374"/>
                    </a:lnTo>
                    <a:lnTo>
                      <a:pt x="1580" y="446"/>
                    </a:lnTo>
                    <a:lnTo>
                      <a:pt x="1715" y="566"/>
                    </a:lnTo>
                    <a:lnTo>
                      <a:pt x="1835" y="533"/>
                    </a:lnTo>
                    <a:lnTo>
                      <a:pt x="1921" y="432"/>
                    </a:lnTo>
                    <a:lnTo>
                      <a:pt x="1926" y="350"/>
                    </a:lnTo>
                    <a:lnTo>
                      <a:pt x="1892" y="250"/>
                    </a:lnTo>
                    <a:lnTo>
                      <a:pt x="1979" y="120"/>
                    </a:lnTo>
                    <a:lnTo>
                      <a:pt x="2128" y="77"/>
                    </a:lnTo>
                    <a:lnTo>
                      <a:pt x="2396" y="86"/>
                    </a:lnTo>
                    <a:lnTo>
                      <a:pt x="2444" y="163"/>
                    </a:lnTo>
                    <a:lnTo>
                      <a:pt x="2515" y="202"/>
                    </a:lnTo>
                    <a:lnTo>
                      <a:pt x="2771" y="2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4" name="Freeform 105">
                <a:extLst>
                  <a:ext uri="{FF2B5EF4-FFF2-40B4-BE49-F238E27FC236}">
                    <a16:creationId xmlns:a16="http://schemas.microsoft.com/office/drawing/2014/main" id="{ABA104E1-C3CD-4412-8845-21480390C4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9401" y="1828397"/>
                <a:ext cx="1025443" cy="965123"/>
              </a:xfrm>
              <a:custGeom>
                <a:avLst/>
                <a:gdLst/>
                <a:ahLst/>
                <a:cxnLst>
                  <a:cxn ang="0">
                    <a:pos x="10" y="1738"/>
                  </a:cxn>
                  <a:cxn ang="0">
                    <a:pos x="1594" y="3067"/>
                  </a:cxn>
                  <a:cxn ang="0">
                    <a:pos x="1690" y="3168"/>
                  </a:cxn>
                  <a:cxn ang="0">
                    <a:pos x="1829" y="3231"/>
                  </a:cxn>
                  <a:cxn ang="0">
                    <a:pos x="1963" y="3298"/>
                  </a:cxn>
                  <a:cxn ang="0">
                    <a:pos x="1978" y="3447"/>
                  </a:cxn>
                  <a:cxn ang="0">
                    <a:pos x="2285" y="3379"/>
                  </a:cxn>
                  <a:cxn ang="0">
                    <a:pos x="2698" y="3115"/>
                  </a:cxn>
                  <a:cxn ang="0">
                    <a:pos x="3552" y="2463"/>
                  </a:cxn>
                  <a:cxn ang="0">
                    <a:pos x="3442" y="2381"/>
                  </a:cxn>
                  <a:cxn ang="0">
                    <a:pos x="3259" y="2319"/>
                  </a:cxn>
                  <a:cxn ang="0">
                    <a:pos x="3163" y="2074"/>
                  </a:cxn>
                  <a:cxn ang="0">
                    <a:pos x="3235" y="1867"/>
                  </a:cxn>
                  <a:cxn ang="0">
                    <a:pos x="3254" y="1671"/>
                  </a:cxn>
                  <a:cxn ang="0">
                    <a:pos x="3228" y="1338"/>
                  </a:cxn>
                  <a:cxn ang="0">
                    <a:pos x="3091" y="879"/>
                  </a:cxn>
                  <a:cxn ang="0">
                    <a:pos x="2947" y="639"/>
                  </a:cxn>
                  <a:cxn ang="0">
                    <a:pos x="3096" y="466"/>
                  </a:cxn>
                  <a:cxn ang="0">
                    <a:pos x="3182" y="68"/>
                  </a:cxn>
                  <a:cxn ang="0">
                    <a:pos x="3034" y="0"/>
                  </a:cxn>
                  <a:cxn ang="0">
                    <a:pos x="2842" y="10"/>
                  </a:cxn>
                  <a:cxn ang="0">
                    <a:pos x="2645" y="101"/>
                  </a:cxn>
                  <a:cxn ang="0">
                    <a:pos x="2410" y="34"/>
                  </a:cxn>
                  <a:cxn ang="0">
                    <a:pos x="2098" y="77"/>
                  </a:cxn>
                  <a:cxn ang="0">
                    <a:pos x="1752" y="202"/>
                  </a:cxn>
                  <a:cxn ang="0">
                    <a:pos x="1550" y="249"/>
                  </a:cxn>
                  <a:cxn ang="0">
                    <a:pos x="1411" y="523"/>
                  </a:cxn>
                  <a:cxn ang="0">
                    <a:pos x="1421" y="744"/>
                  </a:cxn>
                  <a:cxn ang="0">
                    <a:pos x="1421" y="864"/>
                  </a:cxn>
                  <a:cxn ang="0">
                    <a:pos x="1109" y="931"/>
                  </a:cxn>
                  <a:cxn ang="0">
                    <a:pos x="955" y="1061"/>
                  </a:cxn>
                  <a:cxn ang="0">
                    <a:pos x="754" y="1147"/>
                  </a:cxn>
                  <a:cxn ang="0">
                    <a:pos x="509" y="1248"/>
                  </a:cxn>
                  <a:cxn ang="0">
                    <a:pos x="336" y="1282"/>
                  </a:cxn>
                  <a:cxn ang="0">
                    <a:pos x="0" y="1618"/>
                  </a:cxn>
                </a:cxnLst>
                <a:rect l="0" t="0" r="r" b="b"/>
                <a:pathLst>
                  <a:path w="3610" h="3447">
                    <a:moveTo>
                      <a:pt x="0" y="1618"/>
                    </a:moveTo>
                    <a:lnTo>
                      <a:pt x="10" y="1738"/>
                    </a:lnTo>
                    <a:lnTo>
                      <a:pt x="1579" y="2995"/>
                    </a:lnTo>
                    <a:lnTo>
                      <a:pt x="1594" y="3067"/>
                    </a:lnTo>
                    <a:lnTo>
                      <a:pt x="1646" y="3101"/>
                    </a:lnTo>
                    <a:lnTo>
                      <a:pt x="1690" y="3168"/>
                    </a:lnTo>
                    <a:lnTo>
                      <a:pt x="1786" y="3173"/>
                    </a:lnTo>
                    <a:lnTo>
                      <a:pt x="1829" y="3231"/>
                    </a:lnTo>
                    <a:lnTo>
                      <a:pt x="1930" y="3245"/>
                    </a:lnTo>
                    <a:lnTo>
                      <a:pt x="1963" y="3298"/>
                    </a:lnTo>
                    <a:lnTo>
                      <a:pt x="1934" y="3403"/>
                    </a:lnTo>
                    <a:lnTo>
                      <a:pt x="1978" y="3447"/>
                    </a:lnTo>
                    <a:lnTo>
                      <a:pt x="2122" y="3399"/>
                    </a:lnTo>
                    <a:lnTo>
                      <a:pt x="2285" y="3379"/>
                    </a:lnTo>
                    <a:lnTo>
                      <a:pt x="2457" y="3334"/>
                    </a:lnTo>
                    <a:lnTo>
                      <a:pt x="2698" y="3115"/>
                    </a:lnTo>
                    <a:lnTo>
                      <a:pt x="3610" y="2583"/>
                    </a:lnTo>
                    <a:lnTo>
                      <a:pt x="3552" y="2463"/>
                    </a:lnTo>
                    <a:lnTo>
                      <a:pt x="3461" y="2391"/>
                    </a:lnTo>
                    <a:lnTo>
                      <a:pt x="3442" y="2381"/>
                    </a:lnTo>
                    <a:lnTo>
                      <a:pt x="3317" y="2395"/>
                    </a:lnTo>
                    <a:lnTo>
                      <a:pt x="3259" y="2319"/>
                    </a:lnTo>
                    <a:lnTo>
                      <a:pt x="3278" y="2232"/>
                    </a:lnTo>
                    <a:lnTo>
                      <a:pt x="3163" y="2074"/>
                    </a:lnTo>
                    <a:lnTo>
                      <a:pt x="3283" y="1997"/>
                    </a:lnTo>
                    <a:lnTo>
                      <a:pt x="3235" y="1867"/>
                    </a:lnTo>
                    <a:lnTo>
                      <a:pt x="3283" y="1757"/>
                    </a:lnTo>
                    <a:lnTo>
                      <a:pt x="3254" y="1671"/>
                    </a:lnTo>
                    <a:lnTo>
                      <a:pt x="3293" y="1531"/>
                    </a:lnTo>
                    <a:lnTo>
                      <a:pt x="3228" y="1338"/>
                    </a:lnTo>
                    <a:lnTo>
                      <a:pt x="3202" y="951"/>
                    </a:lnTo>
                    <a:lnTo>
                      <a:pt x="3091" y="879"/>
                    </a:lnTo>
                    <a:lnTo>
                      <a:pt x="2976" y="730"/>
                    </a:lnTo>
                    <a:lnTo>
                      <a:pt x="2947" y="639"/>
                    </a:lnTo>
                    <a:lnTo>
                      <a:pt x="2976" y="528"/>
                    </a:lnTo>
                    <a:lnTo>
                      <a:pt x="3096" y="466"/>
                    </a:lnTo>
                    <a:lnTo>
                      <a:pt x="3130" y="159"/>
                    </a:lnTo>
                    <a:lnTo>
                      <a:pt x="3182" y="68"/>
                    </a:lnTo>
                    <a:lnTo>
                      <a:pt x="3101" y="67"/>
                    </a:lnTo>
                    <a:lnTo>
                      <a:pt x="3034" y="0"/>
                    </a:lnTo>
                    <a:lnTo>
                      <a:pt x="2923" y="48"/>
                    </a:lnTo>
                    <a:lnTo>
                      <a:pt x="2842" y="10"/>
                    </a:lnTo>
                    <a:lnTo>
                      <a:pt x="2774" y="67"/>
                    </a:lnTo>
                    <a:lnTo>
                      <a:pt x="2645" y="101"/>
                    </a:lnTo>
                    <a:lnTo>
                      <a:pt x="2558" y="39"/>
                    </a:lnTo>
                    <a:lnTo>
                      <a:pt x="2410" y="34"/>
                    </a:lnTo>
                    <a:lnTo>
                      <a:pt x="2232" y="53"/>
                    </a:lnTo>
                    <a:lnTo>
                      <a:pt x="2098" y="77"/>
                    </a:lnTo>
                    <a:lnTo>
                      <a:pt x="1963" y="67"/>
                    </a:lnTo>
                    <a:lnTo>
                      <a:pt x="1752" y="202"/>
                    </a:lnTo>
                    <a:lnTo>
                      <a:pt x="1666" y="178"/>
                    </a:lnTo>
                    <a:lnTo>
                      <a:pt x="1550" y="249"/>
                    </a:lnTo>
                    <a:lnTo>
                      <a:pt x="1457" y="353"/>
                    </a:lnTo>
                    <a:lnTo>
                      <a:pt x="1411" y="523"/>
                    </a:lnTo>
                    <a:lnTo>
                      <a:pt x="1402" y="663"/>
                    </a:lnTo>
                    <a:lnTo>
                      <a:pt x="1421" y="744"/>
                    </a:lnTo>
                    <a:lnTo>
                      <a:pt x="1469" y="811"/>
                    </a:lnTo>
                    <a:lnTo>
                      <a:pt x="1421" y="864"/>
                    </a:lnTo>
                    <a:lnTo>
                      <a:pt x="1200" y="845"/>
                    </a:lnTo>
                    <a:lnTo>
                      <a:pt x="1109" y="931"/>
                    </a:lnTo>
                    <a:lnTo>
                      <a:pt x="989" y="931"/>
                    </a:lnTo>
                    <a:lnTo>
                      <a:pt x="955" y="1061"/>
                    </a:lnTo>
                    <a:lnTo>
                      <a:pt x="878" y="1114"/>
                    </a:lnTo>
                    <a:lnTo>
                      <a:pt x="754" y="1147"/>
                    </a:lnTo>
                    <a:lnTo>
                      <a:pt x="648" y="1253"/>
                    </a:lnTo>
                    <a:lnTo>
                      <a:pt x="509" y="1248"/>
                    </a:lnTo>
                    <a:lnTo>
                      <a:pt x="418" y="1291"/>
                    </a:lnTo>
                    <a:lnTo>
                      <a:pt x="336" y="1282"/>
                    </a:lnTo>
                    <a:lnTo>
                      <a:pt x="48" y="1459"/>
                    </a:lnTo>
                    <a:lnTo>
                      <a:pt x="0" y="161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5" name="Freeform 106">
                <a:extLst>
                  <a:ext uri="{FF2B5EF4-FFF2-40B4-BE49-F238E27FC236}">
                    <a16:creationId xmlns:a16="http://schemas.microsoft.com/office/drawing/2014/main" id="{E32DB5CD-5F3E-40CE-8111-11EB41387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460" y="1859869"/>
                <a:ext cx="620249" cy="422241"/>
              </a:xfrm>
              <a:custGeom>
                <a:avLst/>
                <a:gdLst/>
                <a:ahLst/>
                <a:cxnLst>
                  <a:cxn ang="0">
                    <a:pos x="0" y="1481"/>
                  </a:cxn>
                  <a:cxn ang="0">
                    <a:pos x="710" y="1506"/>
                  </a:cxn>
                  <a:cxn ang="0">
                    <a:pos x="757" y="1347"/>
                  </a:cxn>
                  <a:cxn ang="0">
                    <a:pos x="1048" y="1169"/>
                  </a:cxn>
                  <a:cxn ang="0">
                    <a:pos x="1130" y="1179"/>
                  </a:cxn>
                  <a:cxn ang="0">
                    <a:pos x="1220" y="1134"/>
                  </a:cxn>
                  <a:cxn ang="0">
                    <a:pos x="1357" y="1139"/>
                  </a:cxn>
                  <a:cxn ang="0">
                    <a:pos x="1466" y="1034"/>
                  </a:cxn>
                  <a:cxn ang="0">
                    <a:pos x="1588" y="1001"/>
                  </a:cxn>
                  <a:cxn ang="0">
                    <a:pos x="1667" y="945"/>
                  </a:cxn>
                  <a:cxn ang="0">
                    <a:pos x="1700" y="819"/>
                  </a:cxn>
                  <a:cxn ang="0">
                    <a:pos x="1822" y="818"/>
                  </a:cxn>
                  <a:cxn ang="0">
                    <a:pos x="1909" y="731"/>
                  </a:cxn>
                  <a:cxn ang="0">
                    <a:pos x="2131" y="750"/>
                  </a:cxn>
                  <a:cxn ang="0">
                    <a:pos x="2179" y="699"/>
                  </a:cxn>
                  <a:cxn ang="0">
                    <a:pos x="2132" y="635"/>
                  </a:cxn>
                  <a:cxn ang="0">
                    <a:pos x="2111" y="549"/>
                  </a:cxn>
                  <a:cxn ang="0">
                    <a:pos x="2122" y="407"/>
                  </a:cxn>
                  <a:cxn ang="0">
                    <a:pos x="2168" y="237"/>
                  </a:cxn>
                  <a:cxn ang="0">
                    <a:pos x="2121" y="218"/>
                  </a:cxn>
                  <a:cxn ang="0">
                    <a:pos x="2092" y="170"/>
                  </a:cxn>
                  <a:cxn ang="0">
                    <a:pos x="2011" y="204"/>
                  </a:cxn>
                  <a:cxn ang="0">
                    <a:pos x="1963" y="142"/>
                  </a:cxn>
                  <a:cxn ang="0">
                    <a:pos x="1867" y="146"/>
                  </a:cxn>
                  <a:cxn ang="0">
                    <a:pos x="1752" y="166"/>
                  </a:cxn>
                  <a:cxn ang="0">
                    <a:pos x="1680" y="132"/>
                  </a:cxn>
                  <a:cxn ang="0">
                    <a:pos x="1617" y="65"/>
                  </a:cxn>
                  <a:cxn ang="0">
                    <a:pos x="1579" y="0"/>
                  </a:cxn>
                  <a:cxn ang="0">
                    <a:pos x="1516" y="7"/>
                  </a:cxn>
                  <a:cxn ang="0">
                    <a:pos x="1443" y="136"/>
                  </a:cxn>
                  <a:cxn ang="0">
                    <a:pos x="1372" y="276"/>
                  </a:cxn>
                  <a:cxn ang="0">
                    <a:pos x="1233" y="391"/>
                  </a:cxn>
                  <a:cxn ang="0">
                    <a:pos x="1142" y="430"/>
                  </a:cxn>
                  <a:cxn ang="0">
                    <a:pos x="1041" y="458"/>
                  </a:cxn>
                  <a:cxn ang="0">
                    <a:pos x="944" y="499"/>
                  </a:cxn>
                  <a:cxn ang="0">
                    <a:pos x="840" y="578"/>
                  </a:cxn>
                  <a:cxn ang="0">
                    <a:pos x="772" y="694"/>
                  </a:cxn>
                  <a:cxn ang="0">
                    <a:pos x="672" y="817"/>
                  </a:cxn>
                  <a:cxn ang="0">
                    <a:pos x="672" y="996"/>
                  </a:cxn>
                  <a:cxn ang="0">
                    <a:pos x="627" y="1089"/>
                  </a:cxn>
                  <a:cxn ang="0">
                    <a:pos x="489" y="1246"/>
                  </a:cxn>
                  <a:cxn ang="0">
                    <a:pos x="355" y="1318"/>
                  </a:cxn>
                  <a:cxn ang="0">
                    <a:pos x="235" y="1380"/>
                  </a:cxn>
                  <a:cxn ang="0">
                    <a:pos x="144" y="1414"/>
                  </a:cxn>
                  <a:cxn ang="0">
                    <a:pos x="33" y="1433"/>
                  </a:cxn>
                  <a:cxn ang="0">
                    <a:pos x="0" y="1481"/>
                  </a:cxn>
                </a:cxnLst>
                <a:rect l="0" t="0" r="r" b="b"/>
                <a:pathLst>
                  <a:path w="2179" h="1506">
                    <a:moveTo>
                      <a:pt x="0" y="1481"/>
                    </a:moveTo>
                    <a:lnTo>
                      <a:pt x="710" y="1506"/>
                    </a:lnTo>
                    <a:lnTo>
                      <a:pt x="757" y="1347"/>
                    </a:lnTo>
                    <a:lnTo>
                      <a:pt x="1048" y="1169"/>
                    </a:lnTo>
                    <a:lnTo>
                      <a:pt x="1130" y="1179"/>
                    </a:lnTo>
                    <a:lnTo>
                      <a:pt x="1220" y="1134"/>
                    </a:lnTo>
                    <a:lnTo>
                      <a:pt x="1357" y="1139"/>
                    </a:lnTo>
                    <a:lnTo>
                      <a:pt x="1466" y="1034"/>
                    </a:lnTo>
                    <a:lnTo>
                      <a:pt x="1588" y="1001"/>
                    </a:lnTo>
                    <a:lnTo>
                      <a:pt x="1667" y="945"/>
                    </a:lnTo>
                    <a:lnTo>
                      <a:pt x="1700" y="819"/>
                    </a:lnTo>
                    <a:lnTo>
                      <a:pt x="1822" y="818"/>
                    </a:lnTo>
                    <a:lnTo>
                      <a:pt x="1909" y="731"/>
                    </a:lnTo>
                    <a:lnTo>
                      <a:pt x="2131" y="750"/>
                    </a:lnTo>
                    <a:lnTo>
                      <a:pt x="2179" y="699"/>
                    </a:lnTo>
                    <a:lnTo>
                      <a:pt x="2132" y="635"/>
                    </a:lnTo>
                    <a:lnTo>
                      <a:pt x="2111" y="549"/>
                    </a:lnTo>
                    <a:lnTo>
                      <a:pt x="2122" y="407"/>
                    </a:lnTo>
                    <a:lnTo>
                      <a:pt x="2168" y="237"/>
                    </a:lnTo>
                    <a:lnTo>
                      <a:pt x="2121" y="218"/>
                    </a:lnTo>
                    <a:lnTo>
                      <a:pt x="2092" y="170"/>
                    </a:lnTo>
                    <a:lnTo>
                      <a:pt x="2011" y="204"/>
                    </a:lnTo>
                    <a:lnTo>
                      <a:pt x="1963" y="142"/>
                    </a:lnTo>
                    <a:lnTo>
                      <a:pt x="1867" y="146"/>
                    </a:lnTo>
                    <a:lnTo>
                      <a:pt x="1752" y="166"/>
                    </a:lnTo>
                    <a:lnTo>
                      <a:pt x="1680" y="132"/>
                    </a:lnTo>
                    <a:lnTo>
                      <a:pt x="1617" y="65"/>
                    </a:lnTo>
                    <a:lnTo>
                      <a:pt x="1579" y="0"/>
                    </a:lnTo>
                    <a:lnTo>
                      <a:pt x="1516" y="7"/>
                    </a:lnTo>
                    <a:lnTo>
                      <a:pt x="1443" y="136"/>
                    </a:lnTo>
                    <a:lnTo>
                      <a:pt x="1372" y="276"/>
                    </a:lnTo>
                    <a:lnTo>
                      <a:pt x="1233" y="391"/>
                    </a:lnTo>
                    <a:lnTo>
                      <a:pt x="1142" y="430"/>
                    </a:lnTo>
                    <a:lnTo>
                      <a:pt x="1041" y="458"/>
                    </a:lnTo>
                    <a:lnTo>
                      <a:pt x="944" y="499"/>
                    </a:lnTo>
                    <a:lnTo>
                      <a:pt x="840" y="578"/>
                    </a:lnTo>
                    <a:lnTo>
                      <a:pt x="772" y="694"/>
                    </a:lnTo>
                    <a:lnTo>
                      <a:pt x="672" y="817"/>
                    </a:lnTo>
                    <a:lnTo>
                      <a:pt x="672" y="996"/>
                    </a:lnTo>
                    <a:lnTo>
                      <a:pt x="627" y="1089"/>
                    </a:lnTo>
                    <a:lnTo>
                      <a:pt x="489" y="1246"/>
                    </a:lnTo>
                    <a:lnTo>
                      <a:pt x="355" y="1318"/>
                    </a:lnTo>
                    <a:lnTo>
                      <a:pt x="235" y="1380"/>
                    </a:lnTo>
                    <a:lnTo>
                      <a:pt x="144" y="1414"/>
                    </a:lnTo>
                    <a:lnTo>
                      <a:pt x="33" y="1433"/>
                    </a:lnTo>
                    <a:lnTo>
                      <a:pt x="0" y="148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6" name="Freeform 107">
                <a:extLst>
                  <a:ext uri="{FF2B5EF4-FFF2-40B4-BE49-F238E27FC236}">
                    <a16:creationId xmlns:a16="http://schemas.microsoft.com/office/drawing/2014/main" id="{A3170D73-5F79-4659-AD62-65A540CA3C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5747" y="2552239"/>
                <a:ext cx="854973" cy="620249"/>
              </a:xfrm>
              <a:custGeom>
                <a:avLst/>
                <a:gdLst/>
                <a:ahLst/>
                <a:cxnLst>
                  <a:cxn ang="0">
                    <a:pos x="2825" y="101"/>
                  </a:cxn>
                  <a:cxn ang="0">
                    <a:pos x="2865" y="361"/>
                  </a:cxn>
                  <a:cxn ang="0">
                    <a:pos x="2949" y="565"/>
                  </a:cxn>
                  <a:cxn ang="0">
                    <a:pos x="3013" y="621"/>
                  </a:cxn>
                  <a:cxn ang="0">
                    <a:pos x="2933" y="701"/>
                  </a:cxn>
                  <a:cxn ang="0">
                    <a:pos x="2897" y="985"/>
                  </a:cxn>
                  <a:cxn ang="0">
                    <a:pos x="2901" y="1273"/>
                  </a:cxn>
                  <a:cxn ang="0">
                    <a:pos x="2729" y="1429"/>
                  </a:cxn>
                  <a:cxn ang="0">
                    <a:pos x="2577" y="1625"/>
                  </a:cxn>
                  <a:cxn ang="0">
                    <a:pos x="2501" y="1757"/>
                  </a:cxn>
                  <a:cxn ang="0">
                    <a:pos x="2497" y="1813"/>
                  </a:cxn>
                  <a:cxn ang="0">
                    <a:pos x="2449" y="1884"/>
                  </a:cxn>
                  <a:cxn ang="0">
                    <a:pos x="2389" y="1913"/>
                  </a:cxn>
                  <a:cxn ang="0">
                    <a:pos x="2297" y="1977"/>
                  </a:cxn>
                  <a:cxn ang="0">
                    <a:pos x="2177" y="1974"/>
                  </a:cxn>
                  <a:cxn ang="0">
                    <a:pos x="2073" y="1949"/>
                  </a:cxn>
                  <a:cxn ang="0">
                    <a:pos x="1949" y="1945"/>
                  </a:cxn>
                  <a:cxn ang="0">
                    <a:pos x="1845" y="1969"/>
                  </a:cxn>
                  <a:cxn ang="0">
                    <a:pos x="1723" y="2065"/>
                  </a:cxn>
                  <a:cxn ang="0">
                    <a:pos x="1545" y="2009"/>
                  </a:cxn>
                  <a:cxn ang="0">
                    <a:pos x="1401" y="1949"/>
                  </a:cxn>
                  <a:cxn ang="0">
                    <a:pos x="1345" y="1993"/>
                  </a:cxn>
                  <a:cxn ang="0">
                    <a:pos x="1237" y="2021"/>
                  </a:cxn>
                  <a:cxn ang="0">
                    <a:pos x="1185" y="1917"/>
                  </a:cxn>
                  <a:cxn ang="0">
                    <a:pos x="1088" y="1884"/>
                  </a:cxn>
                  <a:cxn ang="0">
                    <a:pos x="997" y="1845"/>
                  </a:cxn>
                  <a:cxn ang="0">
                    <a:pos x="913" y="1877"/>
                  </a:cxn>
                  <a:cxn ang="0">
                    <a:pos x="841" y="1869"/>
                  </a:cxn>
                  <a:cxn ang="0">
                    <a:pos x="721" y="1905"/>
                  </a:cxn>
                  <a:cxn ang="0">
                    <a:pos x="693" y="2033"/>
                  </a:cxn>
                  <a:cxn ang="0">
                    <a:pos x="621" y="2101"/>
                  </a:cxn>
                  <a:cxn ang="0">
                    <a:pos x="617" y="2221"/>
                  </a:cxn>
                  <a:cxn ang="0">
                    <a:pos x="549" y="2213"/>
                  </a:cxn>
                  <a:cxn ang="0">
                    <a:pos x="453" y="2110"/>
                  </a:cxn>
                  <a:cxn ang="0">
                    <a:pos x="363" y="2156"/>
                  </a:cxn>
                  <a:cxn ang="0">
                    <a:pos x="317" y="2156"/>
                  </a:cxn>
                  <a:cxn ang="0">
                    <a:pos x="363" y="2065"/>
                  </a:cxn>
                  <a:cxn ang="0">
                    <a:pos x="227" y="2065"/>
                  </a:cxn>
                  <a:cxn ang="0">
                    <a:pos x="90" y="1974"/>
                  </a:cxn>
                  <a:cxn ang="0">
                    <a:pos x="181" y="1929"/>
                  </a:cxn>
                  <a:cxn ang="0">
                    <a:pos x="45" y="1838"/>
                  </a:cxn>
                  <a:cxn ang="0">
                    <a:pos x="0" y="1702"/>
                  </a:cxn>
                  <a:cxn ang="0">
                    <a:pos x="0" y="1612"/>
                  </a:cxn>
                  <a:cxn ang="0">
                    <a:pos x="90" y="1612"/>
                  </a:cxn>
                  <a:cxn ang="0">
                    <a:pos x="197" y="1549"/>
                  </a:cxn>
                  <a:cxn ang="0">
                    <a:pos x="581" y="1549"/>
                  </a:cxn>
                  <a:cxn ang="0">
                    <a:pos x="685" y="1473"/>
                  </a:cxn>
                  <a:cxn ang="0">
                    <a:pos x="757" y="1333"/>
                  </a:cxn>
                  <a:cxn ang="0">
                    <a:pos x="804" y="813"/>
                  </a:cxn>
                  <a:cxn ang="0">
                    <a:pos x="959" y="795"/>
                  </a:cxn>
                  <a:cxn ang="0">
                    <a:pos x="1136" y="750"/>
                  </a:cxn>
                  <a:cxn ang="0">
                    <a:pos x="1376" y="529"/>
                  </a:cxn>
                  <a:cxn ang="0">
                    <a:pos x="2288" y="0"/>
                  </a:cxn>
                  <a:cxn ang="0">
                    <a:pos x="2557" y="65"/>
                  </a:cxn>
                  <a:cxn ang="0">
                    <a:pos x="2669" y="169"/>
                  </a:cxn>
                  <a:cxn ang="0">
                    <a:pos x="2825" y="101"/>
                  </a:cxn>
                </a:cxnLst>
                <a:rect l="0" t="0" r="r" b="b"/>
                <a:pathLst>
                  <a:path w="3013" h="2221">
                    <a:moveTo>
                      <a:pt x="2825" y="101"/>
                    </a:moveTo>
                    <a:lnTo>
                      <a:pt x="2865" y="361"/>
                    </a:lnTo>
                    <a:lnTo>
                      <a:pt x="2949" y="565"/>
                    </a:lnTo>
                    <a:lnTo>
                      <a:pt x="3013" y="621"/>
                    </a:lnTo>
                    <a:lnTo>
                      <a:pt x="2933" y="701"/>
                    </a:lnTo>
                    <a:lnTo>
                      <a:pt x="2897" y="985"/>
                    </a:lnTo>
                    <a:lnTo>
                      <a:pt x="2901" y="1273"/>
                    </a:lnTo>
                    <a:lnTo>
                      <a:pt x="2729" y="1429"/>
                    </a:lnTo>
                    <a:lnTo>
                      <a:pt x="2577" y="1625"/>
                    </a:lnTo>
                    <a:lnTo>
                      <a:pt x="2501" y="1757"/>
                    </a:lnTo>
                    <a:lnTo>
                      <a:pt x="2497" y="1813"/>
                    </a:lnTo>
                    <a:lnTo>
                      <a:pt x="2449" y="1884"/>
                    </a:lnTo>
                    <a:lnTo>
                      <a:pt x="2389" y="1913"/>
                    </a:lnTo>
                    <a:lnTo>
                      <a:pt x="2297" y="1977"/>
                    </a:lnTo>
                    <a:lnTo>
                      <a:pt x="2177" y="1974"/>
                    </a:lnTo>
                    <a:lnTo>
                      <a:pt x="2073" y="1949"/>
                    </a:lnTo>
                    <a:lnTo>
                      <a:pt x="1949" y="1945"/>
                    </a:lnTo>
                    <a:lnTo>
                      <a:pt x="1845" y="1969"/>
                    </a:lnTo>
                    <a:lnTo>
                      <a:pt x="1723" y="2065"/>
                    </a:lnTo>
                    <a:lnTo>
                      <a:pt x="1545" y="2009"/>
                    </a:lnTo>
                    <a:lnTo>
                      <a:pt x="1401" y="1949"/>
                    </a:lnTo>
                    <a:lnTo>
                      <a:pt x="1345" y="1993"/>
                    </a:lnTo>
                    <a:lnTo>
                      <a:pt x="1237" y="2021"/>
                    </a:lnTo>
                    <a:lnTo>
                      <a:pt x="1185" y="1917"/>
                    </a:lnTo>
                    <a:lnTo>
                      <a:pt x="1088" y="1884"/>
                    </a:lnTo>
                    <a:lnTo>
                      <a:pt x="997" y="1845"/>
                    </a:lnTo>
                    <a:lnTo>
                      <a:pt x="913" y="1877"/>
                    </a:lnTo>
                    <a:lnTo>
                      <a:pt x="841" y="1869"/>
                    </a:lnTo>
                    <a:lnTo>
                      <a:pt x="721" y="1905"/>
                    </a:lnTo>
                    <a:lnTo>
                      <a:pt x="693" y="2033"/>
                    </a:lnTo>
                    <a:lnTo>
                      <a:pt x="621" y="2101"/>
                    </a:lnTo>
                    <a:lnTo>
                      <a:pt x="617" y="2221"/>
                    </a:lnTo>
                    <a:lnTo>
                      <a:pt x="549" y="2213"/>
                    </a:lnTo>
                    <a:lnTo>
                      <a:pt x="453" y="2110"/>
                    </a:lnTo>
                    <a:lnTo>
                      <a:pt x="363" y="2156"/>
                    </a:lnTo>
                    <a:lnTo>
                      <a:pt x="317" y="2156"/>
                    </a:lnTo>
                    <a:lnTo>
                      <a:pt x="363" y="2065"/>
                    </a:lnTo>
                    <a:lnTo>
                      <a:pt x="227" y="2065"/>
                    </a:lnTo>
                    <a:lnTo>
                      <a:pt x="90" y="1974"/>
                    </a:lnTo>
                    <a:lnTo>
                      <a:pt x="181" y="1929"/>
                    </a:lnTo>
                    <a:lnTo>
                      <a:pt x="45" y="1838"/>
                    </a:lnTo>
                    <a:lnTo>
                      <a:pt x="0" y="1702"/>
                    </a:lnTo>
                    <a:lnTo>
                      <a:pt x="0" y="1612"/>
                    </a:lnTo>
                    <a:lnTo>
                      <a:pt x="90" y="1612"/>
                    </a:lnTo>
                    <a:lnTo>
                      <a:pt x="197" y="1549"/>
                    </a:lnTo>
                    <a:lnTo>
                      <a:pt x="581" y="1549"/>
                    </a:lnTo>
                    <a:lnTo>
                      <a:pt x="685" y="1473"/>
                    </a:lnTo>
                    <a:lnTo>
                      <a:pt x="757" y="1333"/>
                    </a:lnTo>
                    <a:lnTo>
                      <a:pt x="804" y="813"/>
                    </a:lnTo>
                    <a:lnTo>
                      <a:pt x="959" y="795"/>
                    </a:lnTo>
                    <a:lnTo>
                      <a:pt x="1136" y="750"/>
                    </a:lnTo>
                    <a:lnTo>
                      <a:pt x="1376" y="529"/>
                    </a:lnTo>
                    <a:lnTo>
                      <a:pt x="2288" y="0"/>
                    </a:lnTo>
                    <a:lnTo>
                      <a:pt x="2557" y="65"/>
                    </a:lnTo>
                    <a:lnTo>
                      <a:pt x="2669" y="169"/>
                    </a:lnTo>
                    <a:lnTo>
                      <a:pt x="2825" y="10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7" name="Freeform 108">
                <a:extLst>
                  <a:ext uri="{FF2B5EF4-FFF2-40B4-BE49-F238E27FC236}">
                    <a16:creationId xmlns:a16="http://schemas.microsoft.com/office/drawing/2014/main" id="{2921B51A-2AED-45A4-A59E-90EBCA902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1319" y="2123442"/>
                <a:ext cx="578287" cy="516655"/>
              </a:xfrm>
              <a:custGeom>
                <a:avLst/>
                <a:gdLst/>
                <a:ahLst/>
                <a:cxnLst>
                  <a:cxn ang="0">
                    <a:pos x="1983" y="1632"/>
                  </a:cxn>
                  <a:cxn ang="0">
                    <a:pos x="1899" y="1664"/>
                  </a:cxn>
                  <a:cxn ang="0">
                    <a:pos x="1867" y="1744"/>
                  </a:cxn>
                  <a:cxn ang="0">
                    <a:pos x="1767" y="1772"/>
                  </a:cxn>
                  <a:cxn ang="0">
                    <a:pos x="1763" y="1848"/>
                  </a:cxn>
                  <a:cxn ang="0">
                    <a:pos x="1671" y="1848"/>
                  </a:cxn>
                  <a:cxn ang="0">
                    <a:pos x="1607" y="1804"/>
                  </a:cxn>
                  <a:cxn ang="0">
                    <a:pos x="106" y="1827"/>
                  </a:cxn>
                  <a:cxn ang="0">
                    <a:pos x="62" y="436"/>
                  </a:cxn>
                  <a:cxn ang="0">
                    <a:pos x="0" y="308"/>
                  </a:cxn>
                  <a:cxn ang="0">
                    <a:pos x="62" y="187"/>
                  </a:cxn>
                  <a:cxn ang="0">
                    <a:pos x="51" y="44"/>
                  </a:cxn>
                  <a:cxn ang="0">
                    <a:pos x="167" y="40"/>
                  </a:cxn>
                  <a:cxn ang="0">
                    <a:pos x="243" y="16"/>
                  </a:cxn>
                  <a:cxn ang="0">
                    <a:pos x="371" y="64"/>
                  </a:cxn>
                  <a:cxn ang="0">
                    <a:pos x="543" y="128"/>
                  </a:cxn>
                  <a:cxn ang="0">
                    <a:pos x="635" y="108"/>
                  </a:cxn>
                  <a:cxn ang="0">
                    <a:pos x="786" y="149"/>
                  </a:cxn>
                  <a:cxn ang="0">
                    <a:pos x="895" y="72"/>
                  </a:cxn>
                  <a:cxn ang="0">
                    <a:pos x="1015" y="36"/>
                  </a:cxn>
                  <a:cxn ang="0">
                    <a:pos x="1119" y="0"/>
                  </a:cxn>
                  <a:cxn ang="0">
                    <a:pos x="1219" y="60"/>
                  </a:cxn>
                  <a:cxn ang="0">
                    <a:pos x="1330" y="103"/>
                  </a:cxn>
                  <a:cxn ang="0">
                    <a:pos x="1483" y="84"/>
                  </a:cxn>
                  <a:cxn ang="0">
                    <a:pos x="1635" y="44"/>
                  </a:cxn>
                  <a:cxn ang="0">
                    <a:pos x="1723" y="184"/>
                  </a:cxn>
                  <a:cxn ang="0">
                    <a:pos x="1779" y="296"/>
                  </a:cxn>
                  <a:cxn ang="0">
                    <a:pos x="1747" y="416"/>
                  </a:cxn>
                  <a:cxn ang="0">
                    <a:pos x="1751" y="508"/>
                  </a:cxn>
                  <a:cxn ang="0">
                    <a:pos x="1715" y="592"/>
                  </a:cxn>
                  <a:cxn ang="0">
                    <a:pos x="1739" y="648"/>
                  </a:cxn>
                  <a:cxn ang="0">
                    <a:pos x="1693" y="693"/>
                  </a:cxn>
                  <a:cxn ang="0">
                    <a:pos x="1603" y="648"/>
                  </a:cxn>
                  <a:cxn ang="0">
                    <a:pos x="1512" y="557"/>
                  </a:cxn>
                  <a:cxn ang="0">
                    <a:pos x="1512" y="466"/>
                  </a:cxn>
                  <a:cxn ang="0">
                    <a:pos x="1376" y="330"/>
                  </a:cxn>
                  <a:cxn ang="0">
                    <a:pos x="1330" y="330"/>
                  </a:cxn>
                  <a:cxn ang="0">
                    <a:pos x="1330" y="376"/>
                  </a:cxn>
                  <a:cxn ang="0">
                    <a:pos x="1399" y="496"/>
                  </a:cxn>
                  <a:cxn ang="0">
                    <a:pos x="1519" y="644"/>
                  </a:cxn>
                  <a:cxn ang="0">
                    <a:pos x="1648" y="829"/>
                  </a:cxn>
                  <a:cxn ang="0">
                    <a:pos x="1711" y="968"/>
                  </a:cxn>
                  <a:cxn ang="0">
                    <a:pos x="1819" y="1128"/>
                  </a:cxn>
                  <a:cxn ang="0">
                    <a:pos x="1875" y="1237"/>
                  </a:cxn>
                  <a:cxn ang="0">
                    <a:pos x="1943" y="1336"/>
                  </a:cxn>
                  <a:cxn ang="0">
                    <a:pos x="2043" y="1424"/>
                  </a:cxn>
                  <a:cxn ang="0">
                    <a:pos x="2007" y="1508"/>
                  </a:cxn>
                  <a:cxn ang="0">
                    <a:pos x="2035" y="1588"/>
                  </a:cxn>
                  <a:cxn ang="0">
                    <a:pos x="1983" y="1632"/>
                  </a:cxn>
                </a:cxnLst>
                <a:rect l="0" t="0" r="r" b="b"/>
                <a:pathLst>
                  <a:path w="2043" h="1848">
                    <a:moveTo>
                      <a:pt x="1983" y="1632"/>
                    </a:moveTo>
                    <a:lnTo>
                      <a:pt x="1899" y="1664"/>
                    </a:lnTo>
                    <a:lnTo>
                      <a:pt x="1867" y="1744"/>
                    </a:lnTo>
                    <a:lnTo>
                      <a:pt x="1767" y="1772"/>
                    </a:lnTo>
                    <a:lnTo>
                      <a:pt x="1763" y="1848"/>
                    </a:lnTo>
                    <a:lnTo>
                      <a:pt x="1671" y="1848"/>
                    </a:lnTo>
                    <a:lnTo>
                      <a:pt x="1607" y="1804"/>
                    </a:lnTo>
                    <a:lnTo>
                      <a:pt x="106" y="1827"/>
                    </a:lnTo>
                    <a:lnTo>
                      <a:pt x="62" y="436"/>
                    </a:lnTo>
                    <a:lnTo>
                      <a:pt x="0" y="308"/>
                    </a:lnTo>
                    <a:lnTo>
                      <a:pt x="62" y="187"/>
                    </a:lnTo>
                    <a:lnTo>
                      <a:pt x="51" y="44"/>
                    </a:lnTo>
                    <a:lnTo>
                      <a:pt x="167" y="40"/>
                    </a:lnTo>
                    <a:lnTo>
                      <a:pt x="243" y="16"/>
                    </a:lnTo>
                    <a:lnTo>
                      <a:pt x="371" y="64"/>
                    </a:lnTo>
                    <a:lnTo>
                      <a:pt x="543" y="128"/>
                    </a:lnTo>
                    <a:lnTo>
                      <a:pt x="635" y="108"/>
                    </a:lnTo>
                    <a:lnTo>
                      <a:pt x="786" y="149"/>
                    </a:lnTo>
                    <a:lnTo>
                      <a:pt x="895" y="72"/>
                    </a:lnTo>
                    <a:lnTo>
                      <a:pt x="1015" y="36"/>
                    </a:lnTo>
                    <a:lnTo>
                      <a:pt x="1119" y="0"/>
                    </a:lnTo>
                    <a:lnTo>
                      <a:pt x="1219" y="60"/>
                    </a:lnTo>
                    <a:lnTo>
                      <a:pt x="1330" y="103"/>
                    </a:lnTo>
                    <a:lnTo>
                      <a:pt x="1483" y="84"/>
                    </a:lnTo>
                    <a:lnTo>
                      <a:pt x="1635" y="44"/>
                    </a:lnTo>
                    <a:lnTo>
                      <a:pt x="1723" y="184"/>
                    </a:lnTo>
                    <a:lnTo>
                      <a:pt x="1779" y="296"/>
                    </a:lnTo>
                    <a:lnTo>
                      <a:pt x="1747" y="416"/>
                    </a:lnTo>
                    <a:lnTo>
                      <a:pt x="1751" y="508"/>
                    </a:lnTo>
                    <a:lnTo>
                      <a:pt x="1715" y="592"/>
                    </a:lnTo>
                    <a:lnTo>
                      <a:pt x="1739" y="648"/>
                    </a:lnTo>
                    <a:lnTo>
                      <a:pt x="1693" y="693"/>
                    </a:lnTo>
                    <a:lnTo>
                      <a:pt x="1603" y="648"/>
                    </a:lnTo>
                    <a:lnTo>
                      <a:pt x="1512" y="557"/>
                    </a:lnTo>
                    <a:lnTo>
                      <a:pt x="1512" y="466"/>
                    </a:lnTo>
                    <a:lnTo>
                      <a:pt x="1376" y="330"/>
                    </a:lnTo>
                    <a:lnTo>
                      <a:pt x="1330" y="330"/>
                    </a:lnTo>
                    <a:lnTo>
                      <a:pt x="1330" y="376"/>
                    </a:lnTo>
                    <a:lnTo>
                      <a:pt x="1399" y="496"/>
                    </a:lnTo>
                    <a:lnTo>
                      <a:pt x="1519" y="644"/>
                    </a:lnTo>
                    <a:lnTo>
                      <a:pt x="1648" y="829"/>
                    </a:lnTo>
                    <a:lnTo>
                      <a:pt x="1711" y="968"/>
                    </a:lnTo>
                    <a:lnTo>
                      <a:pt x="1819" y="1128"/>
                    </a:lnTo>
                    <a:lnTo>
                      <a:pt x="1875" y="1237"/>
                    </a:lnTo>
                    <a:lnTo>
                      <a:pt x="1943" y="1336"/>
                    </a:lnTo>
                    <a:lnTo>
                      <a:pt x="2043" y="1424"/>
                    </a:lnTo>
                    <a:lnTo>
                      <a:pt x="2007" y="1508"/>
                    </a:lnTo>
                    <a:lnTo>
                      <a:pt x="2035" y="1588"/>
                    </a:lnTo>
                    <a:lnTo>
                      <a:pt x="1983" y="1632"/>
                    </a:lnTo>
                    <a:close/>
                  </a:path>
                </a:pathLst>
              </a:custGeom>
              <a:solidFill>
                <a:srgbClr val="0069B3"/>
              </a:solidFill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8" name="Freeform 109">
                <a:extLst>
                  <a:ext uri="{FF2B5EF4-FFF2-40B4-BE49-F238E27FC236}">
                    <a16:creationId xmlns:a16="http://schemas.microsoft.com/office/drawing/2014/main" id="{A5AEDC59-06A1-4948-9A58-5757EB87E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5164" y="2553551"/>
                <a:ext cx="567797" cy="864152"/>
              </a:xfrm>
              <a:custGeom>
                <a:avLst/>
                <a:gdLst/>
                <a:ahLst/>
                <a:cxnLst>
                  <a:cxn ang="0">
                    <a:pos x="0" y="1803"/>
                  </a:cxn>
                  <a:cxn ang="0">
                    <a:pos x="74" y="1860"/>
                  </a:cxn>
                  <a:cxn ang="0">
                    <a:pos x="98" y="1928"/>
                  </a:cxn>
                  <a:cxn ang="0">
                    <a:pos x="162" y="1980"/>
                  </a:cxn>
                  <a:cxn ang="0">
                    <a:pos x="214" y="1964"/>
                  </a:cxn>
                  <a:cxn ang="0">
                    <a:pos x="290" y="1972"/>
                  </a:cxn>
                  <a:cxn ang="0">
                    <a:pos x="338" y="2044"/>
                  </a:cxn>
                  <a:cxn ang="0">
                    <a:pos x="226" y="2064"/>
                  </a:cxn>
                  <a:cxn ang="0">
                    <a:pos x="246" y="2136"/>
                  </a:cxn>
                  <a:cxn ang="0">
                    <a:pos x="313" y="2192"/>
                  </a:cxn>
                  <a:cxn ang="0">
                    <a:pos x="294" y="2336"/>
                  </a:cxn>
                  <a:cxn ang="0">
                    <a:pos x="310" y="2436"/>
                  </a:cxn>
                  <a:cxn ang="0">
                    <a:pos x="362" y="2512"/>
                  </a:cxn>
                  <a:cxn ang="0">
                    <a:pos x="404" y="2600"/>
                  </a:cxn>
                  <a:cxn ang="0">
                    <a:pos x="177" y="2600"/>
                  </a:cxn>
                  <a:cxn ang="0">
                    <a:pos x="86" y="2691"/>
                  </a:cxn>
                  <a:cxn ang="0">
                    <a:pos x="190" y="2792"/>
                  </a:cxn>
                  <a:cxn ang="0">
                    <a:pos x="268" y="2827"/>
                  </a:cxn>
                  <a:cxn ang="0">
                    <a:pos x="362" y="3000"/>
                  </a:cxn>
                  <a:cxn ang="0">
                    <a:pos x="386" y="3084"/>
                  </a:cxn>
                  <a:cxn ang="0">
                    <a:pos x="506" y="3076"/>
                  </a:cxn>
                  <a:cxn ang="0">
                    <a:pos x="582" y="3016"/>
                  </a:cxn>
                  <a:cxn ang="0">
                    <a:pos x="630" y="3064"/>
                  </a:cxn>
                  <a:cxn ang="0">
                    <a:pos x="742" y="3000"/>
                  </a:cxn>
                  <a:cxn ang="0">
                    <a:pos x="966" y="2984"/>
                  </a:cxn>
                  <a:cxn ang="0">
                    <a:pos x="1082" y="2840"/>
                  </a:cxn>
                  <a:cxn ang="0">
                    <a:pos x="1270" y="2792"/>
                  </a:cxn>
                  <a:cxn ang="0">
                    <a:pos x="1382" y="2724"/>
                  </a:cxn>
                  <a:cxn ang="0">
                    <a:pos x="1590" y="2468"/>
                  </a:cxn>
                  <a:cxn ang="0">
                    <a:pos x="1718" y="2404"/>
                  </a:cxn>
                  <a:cxn ang="0">
                    <a:pos x="1818" y="2440"/>
                  </a:cxn>
                  <a:cxn ang="0">
                    <a:pos x="1814" y="2336"/>
                  </a:cxn>
                  <a:cxn ang="0">
                    <a:pos x="1746" y="2304"/>
                  </a:cxn>
                  <a:cxn ang="0">
                    <a:pos x="1726" y="2232"/>
                  </a:cxn>
                  <a:cxn ang="0">
                    <a:pos x="1690" y="2148"/>
                  </a:cxn>
                  <a:cxn ang="0">
                    <a:pos x="1702" y="2076"/>
                  </a:cxn>
                  <a:cxn ang="0">
                    <a:pos x="1602" y="2084"/>
                  </a:cxn>
                  <a:cxn ang="0">
                    <a:pos x="1586" y="2036"/>
                  </a:cxn>
                  <a:cxn ang="0">
                    <a:pos x="1666" y="1964"/>
                  </a:cxn>
                  <a:cxn ang="0">
                    <a:pos x="1628" y="1875"/>
                  </a:cxn>
                  <a:cxn ang="0">
                    <a:pos x="1726" y="1792"/>
                  </a:cxn>
                  <a:cxn ang="0">
                    <a:pos x="1690" y="1724"/>
                  </a:cxn>
                  <a:cxn ang="0">
                    <a:pos x="1806" y="1592"/>
                  </a:cxn>
                  <a:cxn ang="0">
                    <a:pos x="1810" y="1512"/>
                  </a:cxn>
                  <a:cxn ang="0">
                    <a:pos x="1870" y="1476"/>
                  </a:cxn>
                  <a:cxn ang="0">
                    <a:pos x="2002" y="1504"/>
                  </a:cxn>
                  <a:cxn ang="0">
                    <a:pos x="1992" y="776"/>
                  </a:cxn>
                  <a:cxn ang="0">
                    <a:pos x="497" y="0"/>
                  </a:cxn>
                  <a:cxn ang="0">
                    <a:pos x="327" y="91"/>
                  </a:cxn>
                  <a:cxn ang="0">
                    <a:pos x="366" y="354"/>
                  </a:cxn>
                  <a:cxn ang="0">
                    <a:pos x="449" y="555"/>
                  </a:cxn>
                  <a:cxn ang="0">
                    <a:pos x="513" y="613"/>
                  </a:cxn>
                  <a:cxn ang="0">
                    <a:pos x="435" y="691"/>
                  </a:cxn>
                  <a:cxn ang="0">
                    <a:pos x="399" y="972"/>
                  </a:cxn>
                  <a:cxn ang="0">
                    <a:pos x="402" y="1266"/>
                  </a:cxn>
                  <a:cxn ang="0">
                    <a:pos x="227" y="1423"/>
                  </a:cxn>
                  <a:cxn ang="0">
                    <a:pos x="75" y="1621"/>
                  </a:cxn>
                  <a:cxn ang="0">
                    <a:pos x="0" y="1752"/>
                  </a:cxn>
                  <a:cxn ang="0">
                    <a:pos x="0" y="1803"/>
                  </a:cxn>
                </a:cxnLst>
                <a:rect l="0" t="0" r="r" b="b"/>
                <a:pathLst>
                  <a:path w="2002" h="3084">
                    <a:moveTo>
                      <a:pt x="0" y="1803"/>
                    </a:moveTo>
                    <a:lnTo>
                      <a:pt x="74" y="1860"/>
                    </a:lnTo>
                    <a:lnTo>
                      <a:pt x="98" y="1928"/>
                    </a:lnTo>
                    <a:lnTo>
                      <a:pt x="162" y="1980"/>
                    </a:lnTo>
                    <a:lnTo>
                      <a:pt x="214" y="1964"/>
                    </a:lnTo>
                    <a:lnTo>
                      <a:pt x="290" y="1972"/>
                    </a:lnTo>
                    <a:lnTo>
                      <a:pt x="338" y="2044"/>
                    </a:lnTo>
                    <a:lnTo>
                      <a:pt x="226" y="2064"/>
                    </a:lnTo>
                    <a:lnTo>
                      <a:pt x="246" y="2136"/>
                    </a:lnTo>
                    <a:lnTo>
                      <a:pt x="313" y="2192"/>
                    </a:lnTo>
                    <a:lnTo>
                      <a:pt x="294" y="2336"/>
                    </a:lnTo>
                    <a:lnTo>
                      <a:pt x="310" y="2436"/>
                    </a:lnTo>
                    <a:lnTo>
                      <a:pt x="362" y="2512"/>
                    </a:lnTo>
                    <a:lnTo>
                      <a:pt x="404" y="2600"/>
                    </a:lnTo>
                    <a:lnTo>
                      <a:pt x="177" y="2600"/>
                    </a:lnTo>
                    <a:lnTo>
                      <a:pt x="86" y="2691"/>
                    </a:lnTo>
                    <a:lnTo>
                      <a:pt x="190" y="2792"/>
                    </a:lnTo>
                    <a:lnTo>
                      <a:pt x="268" y="2827"/>
                    </a:lnTo>
                    <a:lnTo>
                      <a:pt x="362" y="3000"/>
                    </a:lnTo>
                    <a:lnTo>
                      <a:pt x="386" y="3084"/>
                    </a:lnTo>
                    <a:lnTo>
                      <a:pt x="506" y="3076"/>
                    </a:lnTo>
                    <a:lnTo>
                      <a:pt x="582" y="3016"/>
                    </a:lnTo>
                    <a:lnTo>
                      <a:pt x="630" y="3064"/>
                    </a:lnTo>
                    <a:lnTo>
                      <a:pt x="742" y="3000"/>
                    </a:lnTo>
                    <a:lnTo>
                      <a:pt x="966" y="2984"/>
                    </a:lnTo>
                    <a:lnTo>
                      <a:pt x="1082" y="2840"/>
                    </a:lnTo>
                    <a:lnTo>
                      <a:pt x="1270" y="2792"/>
                    </a:lnTo>
                    <a:lnTo>
                      <a:pt x="1382" y="2724"/>
                    </a:lnTo>
                    <a:lnTo>
                      <a:pt x="1590" y="2468"/>
                    </a:lnTo>
                    <a:lnTo>
                      <a:pt x="1718" y="2404"/>
                    </a:lnTo>
                    <a:lnTo>
                      <a:pt x="1818" y="2440"/>
                    </a:lnTo>
                    <a:lnTo>
                      <a:pt x="1814" y="2336"/>
                    </a:lnTo>
                    <a:lnTo>
                      <a:pt x="1746" y="2304"/>
                    </a:lnTo>
                    <a:lnTo>
                      <a:pt x="1726" y="2232"/>
                    </a:lnTo>
                    <a:lnTo>
                      <a:pt x="1690" y="2148"/>
                    </a:lnTo>
                    <a:lnTo>
                      <a:pt x="1702" y="2076"/>
                    </a:lnTo>
                    <a:lnTo>
                      <a:pt x="1602" y="2084"/>
                    </a:lnTo>
                    <a:lnTo>
                      <a:pt x="1586" y="2036"/>
                    </a:lnTo>
                    <a:lnTo>
                      <a:pt x="1666" y="1964"/>
                    </a:lnTo>
                    <a:lnTo>
                      <a:pt x="1628" y="1875"/>
                    </a:lnTo>
                    <a:lnTo>
                      <a:pt x="1726" y="1792"/>
                    </a:lnTo>
                    <a:lnTo>
                      <a:pt x="1690" y="1724"/>
                    </a:lnTo>
                    <a:lnTo>
                      <a:pt x="1806" y="1592"/>
                    </a:lnTo>
                    <a:lnTo>
                      <a:pt x="1810" y="1512"/>
                    </a:lnTo>
                    <a:lnTo>
                      <a:pt x="1870" y="1476"/>
                    </a:lnTo>
                    <a:lnTo>
                      <a:pt x="2002" y="1504"/>
                    </a:lnTo>
                    <a:lnTo>
                      <a:pt x="1992" y="776"/>
                    </a:lnTo>
                    <a:lnTo>
                      <a:pt x="497" y="0"/>
                    </a:lnTo>
                    <a:lnTo>
                      <a:pt x="327" y="91"/>
                    </a:lnTo>
                    <a:lnTo>
                      <a:pt x="366" y="354"/>
                    </a:lnTo>
                    <a:lnTo>
                      <a:pt x="449" y="555"/>
                    </a:lnTo>
                    <a:lnTo>
                      <a:pt x="513" y="613"/>
                    </a:lnTo>
                    <a:lnTo>
                      <a:pt x="435" y="691"/>
                    </a:lnTo>
                    <a:lnTo>
                      <a:pt x="399" y="972"/>
                    </a:lnTo>
                    <a:lnTo>
                      <a:pt x="402" y="1266"/>
                    </a:lnTo>
                    <a:lnTo>
                      <a:pt x="227" y="1423"/>
                    </a:lnTo>
                    <a:lnTo>
                      <a:pt x="75" y="1621"/>
                    </a:lnTo>
                    <a:lnTo>
                      <a:pt x="0" y="1752"/>
                    </a:lnTo>
                    <a:lnTo>
                      <a:pt x="0" y="180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9" name="Freeform 110">
                <a:extLst>
                  <a:ext uri="{FF2B5EF4-FFF2-40B4-BE49-F238E27FC236}">
                    <a16:creationId xmlns:a16="http://schemas.microsoft.com/office/drawing/2014/main" id="{C163C125-FA94-4D6C-9DF1-DA4278E48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6016" y="1823152"/>
                <a:ext cx="191451" cy="368478"/>
              </a:xfrm>
              <a:custGeom>
                <a:avLst/>
                <a:gdLst/>
                <a:ahLst/>
                <a:cxnLst>
                  <a:cxn ang="0">
                    <a:pos x="645" y="87"/>
                  </a:cxn>
                  <a:cxn ang="0">
                    <a:pos x="550" y="96"/>
                  </a:cxn>
                  <a:cxn ang="0">
                    <a:pos x="494" y="40"/>
                  </a:cxn>
                  <a:cxn ang="0">
                    <a:pos x="438" y="0"/>
                  </a:cxn>
                  <a:cxn ang="0">
                    <a:pos x="366" y="40"/>
                  </a:cxn>
                  <a:cxn ang="0">
                    <a:pos x="237" y="89"/>
                  </a:cxn>
                  <a:cxn ang="0">
                    <a:pos x="183" y="179"/>
                  </a:cxn>
                  <a:cxn ang="0">
                    <a:pos x="150" y="485"/>
                  </a:cxn>
                  <a:cxn ang="0">
                    <a:pos x="29" y="548"/>
                  </a:cxn>
                  <a:cxn ang="0">
                    <a:pos x="0" y="660"/>
                  </a:cxn>
                  <a:cxn ang="0">
                    <a:pos x="33" y="753"/>
                  </a:cxn>
                  <a:cxn ang="0">
                    <a:pos x="147" y="900"/>
                  </a:cxn>
                  <a:cxn ang="0">
                    <a:pos x="257" y="972"/>
                  </a:cxn>
                  <a:cxn ang="0">
                    <a:pos x="279" y="1314"/>
                  </a:cxn>
                  <a:cxn ang="0">
                    <a:pos x="362" y="1296"/>
                  </a:cxn>
                  <a:cxn ang="0">
                    <a:pos x="437" y="1232"/>
                  </a:cxn>
                  <a:cxn ang="0">
                    <a:pos x="408" y="1076"/>
                  </a:cxn>
                  <a:cxn ang="0">
                    <a:pos x="546" y="974"/>
                  </a:cxn>
                  <a:cxn ang="0">
                    <a:pos x="669" y="923"/>
                  </a:cxn>
                  <a:cxn ang="0">
                    <a:pos x="672" y="794"/>
                  </a:cxn>
                  <a:cxn ang="0">
                    <a:pos x="622" y="792"/>
                  </a:cxn>
                  <a:cxn ang="0">
                    <a:pos x="558" y="728"/>
                  </a:cxn>
                  <a:cxn ang="0">
                    <a:pos x="478" y="704"/>
                  </a:cxn>
                  <a:cxn ang="0">
                    <a:pos x="418" y="631"/>
                  </a:cxn>
                  <a:cxn ang="0">
                    <a:pos x="478" y="536"/>
                  </a:cxn>
                  <a:cxn ang="0">
                    <a:pos x="582" y="480"/>
                  </a:cxn>
                  <a:cxn ang="0">
                    <a:pos x="622" y="400"/>
                  </a:cxn>
                  <a:cxn ang="0">
                    <a:pos x="638" y="304"/>
                  </a:cxn>
                  <a:cxn ang="0">
                    <a:pos x="558" y="288"/>
                  </a:cxn>
                  <a:cxn ang="0">
                    <a:pos x="558" y="192"/>
                  </a:cxn>
                  <a:cxn ang="0">
                    <a:pos x="645" y="87"/>
                  </a:cxn>
                </a:cxnLst>
                <a:rect l="0" t="0" r="r" b="b"/>
                <a:pathLst>
                  <a:path w="672" h="1314">
                    <a:moveTo>
                      <a:pt x="645" y="87"/>
                    </a:moveTo>
                    <a:lnTo>
                      <a:pt x="550" y="96"/>
                    </a:lnTo>
                    <a:lnTo>
                      <a:pt x="494" y="40"/>
                    </a:lnTo>
                    <a:lnTo>
                      <a:pt x="438" y="0"/>
                    </a:lnTo>
                    <a:lnTo>
                      <a:pt x="366" y="40"/>
                    </a:lnTo>
                    <a:lnTo>
                      <a:pt x="237" y="89"/>
                    </a:lnTo>
                    <a:lnTo>
                      <a:pt x="183" y="179"/>
                    </a:lnTo>
                    <a:lnTo>
                      <a:pt x="150" y="485"/>
                    </a:lnTo>
                    <a:lnTo>
                      <a:pt x="29" y="548"/>
                    </a:lnTo>
                    <a:lnTo>
                      <a:pt x="0" y="660"/>
                    </a:lnTo>
                    <a:lnTo>
                      <a:pt x="33" y="753"/>
                    </a:lnTo>
                    <a:lnTo>
                      <a:pt x="147" y="900"/>
                    </a:lnTo>
                    <a:lnTo>
                      <a:pt x="257" y="972"/>
                    </a:lnTo>
                    <a:lnTo>
                      <a:pt x="279" y="1314"/>
                    </a:lnTo>
                    <a:lnTo>
                      <a:pt x="362" y="1296"/>
                    </a:lnTo>
                    <a:lnTo>
                      <a:pt x="437" y="1232"/>
                    </a:lnTo>
                    <a:lnTo>
                      <a:pt x="408" y="1076"/>
                    </a:lnTo>
                    <a:lnTo>
                      <a:pt x="546" y="974"/>
                    </a:lnTo>
                    <a:lnTo>
                      <a:pt x="669" y="923"/>
                    </a:lnTo>
                    <a:lnTo>
                      <a:pt x="672" y="794"/>
                    </a:lnTo>
                    <a:lnTo>
                      <a:pt x="622" y="792"/>
                    </a:lnTo>
                    <a:lnTo>
                      <a:pt x="558" y="728"/>
                    </a:lnTo>
                    <a:lnTo>
                      <a:pt x="478" y="704"/>
                    </a:lnTo>
                    <a:lnTo>
                      <a:pt x="418" y="631"/>
                    </a:lnTo>
                    <a:lnTo>
                      <a:pt x="478" y="536"/>
                    </a:lnTo>
                    <a:lnTo>
                      <a:pt x="582" y="480"/>
                    </a:lnTo>
                    <a:lnTo>
                      <a:pt x="622" y="400"/>
                    </a:lnTo>
                    <a:lnTo>
                      <a:pt x="638" y="304"/>
                    </a:lnTo>
                    <a:lnTo>
                      <a:pt x="558" y="288"/>
                    </a:lnTo>
                    <a:lnTo>
                      <a:pt x="558" y="192"/>
                    </a:lnTo>
                    <a:lnTo>
                      <a:pt x="645" y="8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0" name="Freeform 111">
                <a:extLst>
                  <a:ext uri="{FF2B5EF4-FFF2-40B4-BE49-F238E27FC236}">
                    <a16:creationId xmlns:a16="http://schemas.microsoft.com/office/drawing/2014/main" id="{EEE8C1C2-DE51-430A-AFAA-8B0E323B5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9126" y="3016442"/>
                <a:ext cx="802521" cy="618937"/>
              </a:xfrm>
              <a:custGeom>
                <a:avLst/>
                <a:gdLst/>
                <a:ahLst/>
                <a:cxnLst>
                  <a:cxn ang="0">
                    <a:pos x="3535" y="1620"/>
                  </a:cxn>
                  <a:cxn ang="0">
                    <a:pos x="2845" y="2378"/>
                  </a:cxn>
                  <a:cxn ang="0">
                    <a:pos x="2598" y="2378"/>
                  </a:cxn>
                  <a:cxn ang="0">
                    <a:pos x="2425" y="2445"/>
                  </a:cxn>
                  <a:cxn ang="0">
                    <a:pos x="2320" y="2550"/>
                  </a:cxn>
                  <a:cxn ang="0">
                    <a:pos x="2140" y="2625"/>
                  </a:cxn>
                  <a:cxn ang="0">
                    <a:pos x="1923" y="2625"/>
                  </a:cxn>
                  <a:cxn ang="0">
                    <a:pos x="1840" y="2543"/>
                  </a:cxn>
                  <a:cxn ang="0">
                    <a:pos x="1653" y="2655"/>
                  </a:cxn>
                  <a:cxn ang="0">
                    <a:pos x="1578" y="2760"/>
                  </a:cxn>
                  <a:cxn ang="0">
                    <a:pos x="1420" y="2715"/>
                  </a:cxn>
                  <a:cxn ang="0">
                    <a:pos x="1255" y="2715"/>
                  </a:cxn>
                  <a:cxn ang="0">
                    <a:pos x="1083" y="2625"/>
                  </a:cxn>
                  <a:cxn ang="0">
                    <a:pos x="933" y="2520"/>
                  </a:cxn>
                  <a:cxn ang="0">
                    <a:pos x="768" y="2513"/>
                  </a:cxn>
                  <a:cxn ang="0">
                    <a:pos x="643" y="2489"/>
                  </a:cxn>
                  <a:cxn ang="0">
                    <a:pos x="654" y="2318"/>
                  </a:cxn>
                  <a:cxn ang="0">
                    <a:pos x="553" y="2288"/>
                  </a:cxn>
                  <a:cxn ang="0">
                    <a:pos x="488" y="2213"/>
                  </a:cxn>
                  <a:cxn ang="0">
                    <a:pos x="430" y="2065"/>
                  </a:cxn>
                  <a:cxn ang="0">
                    <a:pos x="313" y="1925"/>
                  </a:cxn>
                  <a:cxn ang="0">
                    <a:pos x="183" y="1740"/>
                  </a:cxn>
                  <a:cxn ang="0">
                    <a:pos x="0" y="1665"/>
                  </a:cxn>
                  <a:cxn ang="0">
                    <a:pos x="16" y="1582"/>
                  </a:cxn>
                  <a:cxn ang="0">
                    <a:pos x="105" y="1530"/>
                  </a:cxn>
                  <a:cxn ang="0">
                    <a:pos x="193" y="1568"/>
                  </a:cxn>
                  <a:cxn ang="0">
                    <a:pos x="240" y="1455"/>
                  </a:cxn>
                  <a:cxn ang="0">
                    <a:pos x="218" y="1245"/>
                  </a:cxn>
                  <a:cxn ang="0">
                    <a:pos x="277" y="1136"/>
                  </a:cxn>
                  <a:cxn ang="0">
                    <a:pos x="256" y="998"/>
                  </a:cxn>
                  <a:cxn ang="0">
                    <a:pos x="330" y="953"/>
                  </a:cxn>
                  <a:cxn ang="0">
                    <a:pos x="421" y="968"/>
                  </a:cxn>
                  <a:cxn ang="0">
                    <a:pos x="448" y="725"/>
                  </a:cxn>
                  <a:cxn ang="0">
                    <a:pos x="562" y="532"/>
                  </a:cxn>
                  <a:cxn ang="0">
                    <a:pos x="675" y="518"/>
                  </a:cxn>
                  <a:cxn ang="0">
                    <a:pos x="755" y="155"/>
                  </a:cxn>
                  <a:cxn ang="0">
                    <a:pos x="903" y="75"/>
                  </a:cxn>
                  <a:cxn ang="0">
                    <a:pos x="1008" y="180"/>
                  </a:cxn>
                  <a:cxn ang="0">
                    <a:pos x="1105" y="0"/>
                  </a:cxn>
                  <a:cxn ang="0">
                    <a:pos x="1218" y="83"/>
                  </a:cxn>
                  <a:cxn ang="0">
                    <a:pos x="1383" y="30"/>
                  </a:cxn>
                  <a:cxn ang="0">
                    <a:pos x="1480" y="83"/>
                  </a:cxn>
                  <a:cxn ang="0">
                    <a:pos x="1585" y="68"/>
                  </a:cxn>
                  <a:cxn ang="0">
                    <a:pos x="1795" y="165"/>
                  </a:cxn>
                  <a:cxn ang="0">
                    <a:pos x="1893" y="315"/>
                  </a:cxn>
                  <a:cxn ang="0">
                    <a:pos x="2073" y="458"/>
                  </a:cxn>
                  <a:cxn ang="0">
                    <a:pos x="2163" y="533"/>
                  </a:cxn>
                  <a:cxn ang="0">
                    <a:pos x="2061" y="673"/>
                  </a:cxn>
                  <a:cxn ang="0">
                    <a:pos x="2020" y="780"/>
                  </a:cxn>
                  <a:cxn ang="0">
                    <a:pos x="2035" y="885"/>
                  </a:cxn>
                  <a:cxn ang="0">
                    <a:pos x="2185" y="893"/>
                  </a:cxn>
                  <a:cxn ang="0">
                    <a:pos x="2335" y="848"/>
                  </a:cxn>
                  <a:cxn ang="0">
                    <a:pos x="2268" y="998"/>
                  </a:cxn>
                  <a:cxn ang="0">
                    <a:pos x="2403" y="1238"/>
                  </a:cxn>
                  <a:cxn ang="0">
                    <a:pos x="2568" y="1380"/>
                  </a:cxn>
                  <a:cxn ang="0">
                    <a:pos x="3318" y="1613"/>
                  </a:cxn>
                  <a:cxn ang="0">
                    <a:pos x="3535" y="1620"/>
                  </a:cxn>
                </a:cxnLst>
                <a:rect l="0" t="0" r="r" b="b"/>
                <a:pathLst>
                  <a:path w="3535" h="2760">
                    <a:moveTo>
                      <a:pt x="3535" y="1620"/>
                    </a:moveTo>
                    <a:lnTo>
                      <a:pt x="2845" y="2378"/>
                    </a:lnTo>
                    <a:lnTo>
                      <a:pt x="2598" y="2378"/>
                    </a:lnTo>
                    <a:lnTo>
                      <a:pt x="2425" y="2445"/>
                    </a:lnTo>
                    <a:lnTo>
                      <a:pt x="2320" y="2550"/>
                    </a:lnTo>
                    <a:lnTo>
                      <a:pt x="2140" y="2625"/>
                    </a:lnTo>
                    <a:lnTo>
                      <a:pt x="1923" y="2625"/>
                    </a:lnTo>
                    <a:lnTo>
                      <a:pt x="1840" y="2543"/>
                    </a:lnTo>
                    <a:lnTo>
                      <a:pt x="1653" y="2655"/>
                    </a:lnTo>
                    <a:lnTo>
                      <a:pt x="1578" y="2760"/>
                    </a:lnTo>
                    <a:lnTo>
                      <a:pt x="1420" y="2715"/>
                    </a:lnTo>
                    <a:lnTo>
                      <a:pt x="1255" y="2715"/>
                    </a:lnTo>
                    <a:lnTo>
                      <a:pt x="1083" y="2625"/>
                    </a:lnTo>
                    <a:lnTo>
                      <a:pt x="933" y="2520"/>
                    </a:lnTo>
                    <a:lnTo>
                      <a:pt x="768" y="2513"/>
                    </a:lnTo>
                    <a:lnTo>
                      <a:pt x="643" y="2489"/>
                    </a:lnTo>
                    <a:lnTo>
                      <a:pt x="654" y="2318"/>
                    </a:lnTo>
                    <a:lnTo>
                      <a:pt x="553" y="2288"/>
                    </a:lnTo>
                    <a:lnTo>
                      <a:pt x="488" y="2213"/>
                    </a:lnTo>
                    <a:lnTo>
                      <a:pt x="430" y="2065"/>
                    </a:lnTo>
                    <a:lnTo>
                      <a:pt x="313" y="1925"/>
                    </a:lnTo>
                    <a:lnTo>
                      <a:pt x="183" y="1740"/>
                    </a:lnTo>
                    <a:lnTo>
                      <a:pt x="0" y="1665"/>
                    </a:lnTo>
                    <a:lnTo>
                      <a:pt x="16" y="1582"/>
                    </a:lnTo>
                    <a:lnTo>
                      <a:pt x="105" y="1530"/>
                    </a:lnTo>
                    <a:lnTo>
                      <a:pt x="193" y="1568"/>
                    </a:lnTo>
                    <a:lnTo>
                      <a:pt x="240" y="1455"/>
                    </a:lnTo>
                    <a:lnTo>
                      <a:pt x="218" y="1245"/>
                    </a:lnTo>
                    <a:lnTo>
                      <a:pt x="277" y="1136"/>
                    </a:lnTo>
                    <a:lnTo>
                      <a:pt x="256" y="998"/>
                    </a:lnTo>
                    <a:lnTo>
                      <a:pt x="330" y="953"/>
                    </a:lnTo>
                    <a:lnTo>
                      <a:pt x="421" y="968"/>
                    </a:lnTo>
                    <a:lnTo>
                      <a:pt x="448" y="725"/>
                    </a:lnTo>
                    <a:lnTo>
                      <a:pt x="562" y="532"/>
                    </a:lnTo>
                    <a:lnTo>
                      <a:pt x="675" y="518"/>
                    </a:lnTo>
                    <a:lnTo>
                      <a:pt x="755" y="155"/>
                    </a:lnTo>
                    <a:lnTo>
                      <a:pt x="903" y="75"/>
                    </a:lnTo>
                    <a:lnTo>
                      <a:pt x="1008" y="180"/>
                    </a:lnTo>
                    <a:lnTo>
                      <a:pt x="1105" y="0"/>
                    </a:lnTo>
                    <a:lnTo>
                      <a:pt x="1218" y="83"/>
                    </a:lnTo>
                    <a:lnTo>
                      <a:pt x="1383" y="30"/>
                    </a:lnTo>
                    <a:lnTo>
                      <a:pt x="1480" y="83"/>
                    </a:lnTo>
                    <a:lnTo>
                      <a:pt x="1585" y="68"/>
                    </a:lnTo>
                    <a:lnTo>
                      <a:pt x="1795" y="165"/>
                    </a:lnTo>
                    <a:lnTo>
                      <a:pt x="1893" y="315"/>
                    </a:lnTo>
                    <a:lnTo>
                      <a:pt x="2073" y="458"/>
                    </a:lnTo>
                    <a:lnTo>
                      <a:pt x="2163" y="533"/>
                    </a:lnTo>
                    <a:lnTo>
                      <a:pt x="2061" y="673"/>
                    </a:lnTo>
                    <a:lnTo>
                      <a:pt x="2020" y="780"/>
                    </a:lnTo>
                    <a:lnTo>
                      <a:pt x="2035" y="885"/>
                    </a:lnTo>
                    <a:lnTo>
                      <a:pt x="2185" y="893"/>
                    </a:lnTo>
                    <a:lnTo>
                      <a:pt x="2335" y="848"/>
                    </a:lnTo>
                    <a:lnTo>
                      <a:pt x="2268" y="998"/>
                    </a:lnTo>
                    <a:lnTo>
                      <a:pt x="2403" y="1238"/>
                    </a:lnTo>
                    <a:lnTo>
                      <a:pt x="2568" y="1380"/>
                    </a:lnTo>
                    <a:lnTo>
                      <a:pt x="3318" y="1613"/>
                    </a:lnTo>
                    <a:lnTo>
                      <a:pt x="3535" y="16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1" name="Freeform 112">
                <a:extLst>
                  <a:ext uri="{FF2B5EF4-FFF2-40B4-BE49-F238E27FC236}">
                    <a16:creationId xmlns:a16="http://schemas.microsoft.com/office/drawing/2014/main" id="{49F8DB85-5EBE-4A56-B228-945EDA90D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9235" y="3147573"/>
                <a:ext cx="538948" cy="768426"/>
              </a:xfrm>
              <a:custGeom>
                <a:avLst/>
                <a:gdLst/>
                <a:ahLst/>
                <a:cxnLst>
                  <a:cxn ang="0">
                    <a:pos x="405" y="169"/>
                  </a:cxn>
                  <a:cxn ang="0">
                    <a:pos x="504" y="288"/>
                  </a:cxn>
                  <a:cxn ang="0">
                    <a:pos x="633" y="369"/>
                  </a:cxn>
                  <a:cxn ang="0">
                    <a:pos x="749" y="345"/>
                  </a:cxn>
                  <a:cxn ang="0">
                    <a:pos x="873" y="264"/>
                  </a:cxn>
                  <a:cxn ang="0">
                    <a:pos x="969" y="283"/>
                  </a:cxn>
                  <a:cxn ang="0">
                    <a:pos x="1089" y="259"/>
                  </a:cxn>
                  <a:cxn ang="0">
                    <a:pos x="1157" y="197"/>
                  </a:cxn>
                  <a:cxn ang="0">
                    <a:pos x="1291" y="197"/>
                  </a:cxn>
                  <a:cxn ang="0">
                    <a:pos x="1360" y="162"/>
                  </a:cxn>
                  <a:cxn ang="0">
                    <a:pos x="1507" y="173"/>
                  </a:cxn>
                  <a:cxn ang="0">
                    <a:pos x="1737" y="72"/>
                  </a:cxn>
                  <a:cxn ang="0">
                    <a:pos x="1776" y="0"/>
                  </a:cxn>
                  <a:cxn ang="0">
                    <a:pos x="1891" y="43"/>
                  </a:cxn>
                  <a:cxn ang="0">
                    <a:pos x="1857" y="144"/>
                  </a:cxn>
                  <a:cxn ang="0">
                    <a:pos x="1872" y="245"/>
                  </a:cxn>
                  <a:cxn ang="0">
                    <a:pos x="1901" y="317"/>
                  </a:cxn>
                  <a:cxn ang="0">
                    <a:pos x="1838" y="350"/>
                  </a:cxn>
                  <a:cxn ang="0">
                    <a:pos x="1833" y="485"/>
                  </a:cxn>
                  <a:cxn ang="0">
                    <a:pos x="1761" y="677"/>
                  </a:cxn>
                  <a:cxn ang="0">
                    <a:pos x="1560" y="1075"/>
                  </a:cxn>
                  <a:cxn ang="0">
                    <a:pos x="1545" y="1200"/>
                  </a:cxn>
                  <a:cxn ang="0">
                    <a:pos x="1358" y="1521"/>
                  </a:cxn>
                  <a:cxn ang="0">
                    <a:pos x="1109" y="1829"/>
                  </a:cxn>
                  <a:cxn ang="0">
                    <a:pos x="845" y="2040"/>
                  </a:cxn>
                  <a:cxn ang="0">
                    <a:pos x="635" y="2158"/>
                  </a:cxn>
                  <a:cxn ang="0">
                    <a:pos x="278" y="2539"/>
                  </a:cxn>
                  <a:cxn ang="0">
                    <a:pos x="136" y="2747"/>
                  </a:cxn>
                  <a:cxn ang="0">
                    <a:pos x="14" y="2616"/>
                  </a:cxn>
                  <a:cxn ang="0">
                    <a:pos x="0" y="1886"/>
                  </a:cxn>
                  <a:cxn ang="0">
                    <a:pos x="198" y="1633"/>
                  </a:cxn>
                  <a:cxn ang="0">
                    <a:pos x="343" y="1572"/>
                  </a:cxn>
                  <a:cxn ang="0">
                    <a:pos x="426" y="1488"/>
                  </a:cxn>
                  <a:cxn ang="0">
                    <a:pos x="565" y="1434"/>
                  </a:cxn>
                  <a:cxn ang="0">
                    <a:pos x="765" y="1435"/>
                  </a:cxn>
                  <a:cxn ang="0">
                    <a:pos x="1314" y="829"/>
                  </a:cxn>
                  <a:cxn ang="0">
                    <a:pos x="1146" y="825"/>
                  </a:cxn>
                  <a:cxn ang="0">
                    <a:pos x="546" y="639"/>
                  </a:cxn>
                  <a:cxn ang="0">
                    <a:pos x="409" y="525"/>
                  </a:cxn>
                  <a:cxn ang="0">
                    <a:pos x="303" y="331"/>
                  </a:cxn>
                  <a:cxn ang="0">
                    <a:pos x="354" y="213"/>
                  </a:cxn>
                  <a:cxn ang="0">
                    <a:pos x="405" y="169"/>
                  </a:cxn>
                </a:cxnLst>
                <a:rect l="0" t="0" r="r" b="b"/>
                <a:pathLst>
                  <a:path w="1901" h="2747">
                    <a:moveTo>
                      <a:pt x="405" y="169"/>
                    </a:moveTo>
                    <a:lnTo>
                      <a:pt x="504" y="288"/>
                    </a:lnTo>
                    <a:lnTo>
                      <a:pt x="633" y="369"/>
                    </a:lnTo>
                    <a:lnTo>
                      <a:pt x="749" y="345"/>
                    </a:lnTo>
                    <a:lnTo>
                      <a:pt x="873" y="264"/>
                    </a:lnTo>
                    <a:lnTo>
                      <a:pt x="969" y="283"/>
                    </a:lnTo>
                    <a:lnTo>
                      <a:pt x="1089" y="259"/>
                    </a:lnTo>
                    <a:lnTo>
                      <a:pt x="1157" y="197"/>
                    </a:lnTo>
                    <a:lnTo>
                      <a:pt x="1291" y="197"/>
                    </a:lnTo>
                    <a:lnTo>
                      <a:pt x="1360" y="162"/>
                    </a:lnTo>
                    <a:lnTo>
                      <a:pt x="1507" y="173"/>
                    </a:lnTo>
                    <a:lnTo>
                      <a:pt x="1737" y="72"/>
                    </a:lnTo>
                    <a:lnTo>
                      <a:pt x="1776" y="0"/>
                    </a:lnTo>
                    <a:lnTo>
                      <a:pt x="1891" y="43"/>
                    </a:lnTo>
                    <a:lnTo>
                      <a:pt x="1857" y="144"/>
                    </a:lnTo>
                    <a:lnTo>
                      <a:pt x="1872" y="245"/>
                    </a:lnTo>
                    <a:lnTo>
                      <a:pt x="1901" y="317"/>
                    </a:lnTo>
                    <a:lnTo>
                      <a:pt x="1838" y="350"/>
                    </a:lnTo>
                    <a:lnTo>
                      <a:pt x="1833" y="485"/>
                    </a:lnTo>
                    <a:lnTo>
                      <a:pt x="1761" y="677"/>
                    </a:lnTo>
                    <a:lnTo>
                      <a:pt x="1560" y="1075"/>
                    </a:lnTo>
                    <a:lnTo>
                      <a:pt x="1545" y="1200"/>
                    </a:lnTo>
                    <a:lnTo>
                      <a:pt x="1358" y="1521"/>
                    </a:lnTo>
                    <a:lnTo>
                      <a:pt x="1109" y="1829"/>
                    </a:lnTo>
                    <a:lnTo>
                      <a:pt x="845" y="2040"/>
                    </a:lnTo>
                    <a:lnTo>
                      <a:pt x="635" y="2158"/>
                    </a:lnTo>
                    <a:lnTo>
                      <a:pt x="278" y="2539"/>
                    </a:lnTo>
                    <a:lnTo>
                      <a:pt x="136" y="2747"/>
                    </a:lnTo>
                    <a:lnTo>
                      <a:pt x="14" y="2616"/>
                    </a:lnTo>
                    <a:lnTo>
                      <a:pt x="0" y="1886"/>
                    </a:lnTo>
                    <a:lnTo>
                      <a:pt x="198" y="1633"/>
                    </a:lnTo>
                    <a:lnTo>
                      <a:pt x="343" y="1572"/>
                    </a:lnTo>
                    <a:lnTo>
                      <a:pt x="426" y="1488"/>
                    </a:lnTo>
                    <a:lnTo>
                      <a:pt x="565" y="1434"/>
                    </a:lnTo>
                    <a:lnTo>
                      <a:pt x="765" y="1435"/>
                    </a:lnTo>
                    <a:lnTo>
                      <a:pt x="1314" y="829"/>
                    </a:lnTo>
                    <a:lnTo>
                      <a:pt x="1146" y="825"/>
                    </a:lnTo>
                    <a:lnTo>
                      <a:pt x="546" y="639"/>
                    </a:lnTo>
                    <a:lnTo>
                      <a:pt x="409" y="525"/>
                    </a:lnTo>
                    <a:lnTo>
                      <a:pt x="303" y="331"/>
                    </a:lnTo>
                    <a:lnTo>
                      <a:pt x="354" y="213"/>
                    </a:lnTo>
                    <a:lnTo>
                      <a:pt x="405" y="16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2" name="Freeform 113">
                <a:extLst>
                  <a:ext uri="{FF2B5EF4-FFF2-40B4-BE49-F238E27FC236}">
                    <a16:creationId xmlns:a16="http://schemas.microsoft.com/office/drawing/2014/main" id="{361CCFDB-E6E1-41CB-874A-0210788AE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330" y="2274242"/>
                <a:ext cx="474694" cy="347497"/>
              </a:xfrm>
              <a:custGeom>
                <a:avLst/>
                <a:gdLst/>
                <a:ahLst/>
                <a:cxnLst>
                  <a:cxn ang="0">
                    <a:pos x="959" y="0"/>
                  </a:cxn>
                  <a:cxn ang="0">
                    <a:pos x="864" y="126"/>
                  </a:cxn>
                  <a:cxn ang="0">
                    <a:pos x="780" y="204"/>
                  </a:cxn>
                  <a:cxn ang="0">
                    <a:pos x="677" y="242"/>
                  </a:cxn>
                  <a:cxn ang="0">
                    <a:pos x="558" y="414"/>
                  </a:cxn>
                  <a:cxn ang="0">
                    <a:pos x="528" y="546"/>
                  </a:cxn>
                  <a:cxn ang="0">
                    <a:pos x="315" y="741"/>
                  </a:cxn>
                  <a:cxn ang="0">
                    <a:pos x="168" y="972"/>
                  </a:cxn>
                  <a:cxn ang="0">
                    <a:pos x="0" y="1164"/>
                  </a:cxn>
                  <a:cxn ang="0">
                    <a:pos x="42" y="1218"/>
                  </a:cxn>
                  <a:cxn ang="0">
                    <a:pos x="723" y="1240"/>
                  </a:cxn>
                  <a:cxn ang="0">
                    <a:pos x="723" y="968"/>
                  </a:cxn>
                  <a:cxn ang="0">
                    <a:pos x="950" y="832"/>
                  </a:cxn>
                  <a:cxn ang="0">
                    <a:pos x="1056" y="342"/>
                  </a:cxn>
                  <a:cxn ang="0">
                    <a:pos x="1630" y="378"/>
                  </a:cxn>
                  <a:cxn ang="0">
                    <a:pos x="1677" y="144"/>
                  </a:cxn>
                  <a:cxn ang="0">
                    <a:pos x="1668" y="23"/>
                  </a:cxn>
                  <a:cxn ang="0">
                    <a:pos x="959" y="0"/>
                  </a:cxn>
                </a:cxnLst>
                <a:rect l="0" t="0" r="r" b="b"/>
                <a:pathLst>
                  <a:path w="1677" h="1240">
                    <a:moveTo>
                      <a:pt x="959" y="0"/>
                    </a:moveTo>
                    <a:lnTo>
                      <a:pt x="864" y="126"/>
                    </a:lnTo>
                    <a:lnTo>
                      <a:pt x="780" y="204"/>
                    </a:lnTo>
                    <a:lnTo>
                      <a:pt x="677" y="242"/>
                    </a:lnTo>
                    <a:lnTo>
                      <a:pt x="558" y="414"/>
                    </a:lnTo>
                    <a:lnTo>
                      <a:pt x="528" y="546"/>
                    </a:lnTo>
                    <a:lnTo>
                      <a:pt x="315" y="741"/>
                    </a:lnTo>
                    <a:lnTo>
                      <a:pt x="168" y="972"/>
                    </a:lnTo>
                    <a:lnTo>
                      <a:pt x="0" y="1164"/>
                    </a:lnTo>
                    <a:lnTo>
                      <a:pt x="42" y="1218"/>
                    </a:lnTo>
                    <a:lnTo>
                      <a:pt x="723" y="1240"/>
                    </a:lnTo>
                    <a:lnTo>
                      <a:pt x="723" y="968"/>
                    </a:lnTo>
                    <a:lnTo>
                      <a:pt x="950" y="832"/>
                    </a:lnTo>
                    <a:lnTo>
                      <a:pt x="1056" y="342"/>
                    </a:lnTo>
                    <a:lnTo>
                      <a:pt x="1630" y="378"/>
                    </a:lnTo>
                    <a:lnTo>
                      <a:pt x="1677" y="144"/>
                    </a:lnTo>
                    <a:lnTo>
                      <a:pt x="1668" y="23"/>
                    </a:lnTo>
                    <a:lnTo>
                      <a:pt x="959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4" name="Freeform 115">
                <a:extLst>
                  <a:ext uri="{FF2B5EF4-FFF2-40B4-BE49-F238E27FC236}">
                    <a16:creationId xmlns:a16="http://schemas.microsoft.com/office/drawing/2014/main" id="{22B327EB-B047-4D48-AF70-57B6FD259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4827" y="3230186"/>
                <a:ext cx="330450" cy="351430"/>
              </a:xfrm>
              <a:custGeom>
                <a:avLst/>
                <a:gdLst/>
                <a:ahLst/>
                <a:cxnLst>
                  <a:cxn ang="0">
                    <a:pos x="231" y="1567"/>
                  </a:cxn>
                  <a:cxn ang="0">
                    <a:pos x="240" y="1371"/>
                  </a:cxn>
                  <a:cxn ang="0">
                    <a:pos x="290" y="1241"/>
                  </a:cxn>
                  <a:cxn ang="0">
                    <a:pos x="0" y="1041"/>
                  </a:cxn>
                  <a:cxn ang="0">
                    <a:pos x="90" y="931"/>
                  </a:cxn>
                  <a:cxn ang="0">
                    <a:pos x="50" y="781"/>
                  </a:cxn>
                  <a:cxn ang="0">
                    <a:pos x="140" y="741"/>
                  </a:cxn>
                  <a:cxn ang="0">
                    <a:pos x="150" y="641"/>
                  </a:cxn>
                  <a:cxn ang="0">
                    <a:pos x="100" y="551"/>
                  </a:cxn>
                  <a:cxn ang="0">
                    <a:pos x="276" y="510"/>
                  </a:cxn>
                  <a:cxn ang="0">
                    <a:pos x="163" y="340"/>
                  </a:cxn>
                  <a:cxn ang="0">
                    <a:pos x="215" y="89"/>
                  </a:cxn>
                  <a:cxn ang="0">
                    <a:pos x="309" y="47"/>
                  </a:cxn>
                  <a:cxn ang="0">
                    <a:pos x="400" y="106"/>
                  </a:cxn>
                  <a:cxn ang="0">
                    <a:pos x="519" y="17"/>
                  </a:cxn>
                  <a:cxn ang="0">
                    <a:pos x="616" y="0"/>
                  </a:cxn>
                  <a:cxn ang="0">
                    <a:pos x="640" y="115"/>
                  </a:cxn>
                  <a:cxn ang="0">
                    <a:pos x="730" y="55"/>
                  </a:cxn>
                  <a:cxn ang="0">
                    <a:pos x="930" y="161"/>
                  </a:cxn>
                  <a:cxn ang="0">
                    <a:pos x="1070" y="231"/>
                  </a:cxn>
                  <a:cxn ang="0">
                    <a:pos x="1296" y="170"/>
                  </a:cxn>
                  <a:cxn ang="0">
                    <a:pos x="1410" y="226"/>
                  </a:cxn>
                  <a:cxn ang="0">
                    <a:pos x="1460" y="461"/>
                  </a:cxn>
                  <a:cxn ang="0">
                    <a:pos x="1410" y="680"/>
                  </a:cxn>
                  <a:cxn ang="0">
                    <a:pos x="1310" y="931"/>
                  </a:cxn>
                  <a:cxn ang="0">
                    <a:pos x="1340" y="1171"/>
                  </a:cxn>
                  <a:cxn ang="0">
                    <a:pos x="1410" y="1351"/>
                  </a:cxn>
                  <a:cxn ang="0">
                    <a:pos x="1270" y="1341"/>
                  </a:cxn>
                  <a:cxn ang="0">
                    <a:pos x="1070" y="1381"/>
                  </a:cxn>
                  <a:cxn ang="0">
                    <a:pos x="880" y="1361"/>
                  </a:cxn>
                  <a:cxn ang="0">
                    <a:pos x="580" y="1421"/>
                  </a:cxn>
                  <a:cxn ang="0">
                    <a:pos x="231" y="1567"/>
                  </a:cxn>
                </a:cxnLst>
                <a:rect l="0" t="0" r="r" b="b"/>
                <a:pathLst>
                  <a:path w="1460" h="1567">
                    <a:moveTo>
                      <a:pt x="231" y="1567"/>
                    </a:moveTo>
                    <a:lnTo>
                      <a:pt x="240" y="1371"/>
                    </a:lnTo>
                    <a:lnTo>
                      <a:pt x="290" y="1241"/>
                    </a:lnTo>
                    <a:lnTo>
                      <a:pt x="0" y="1041"/>
                    </a:lnTo>
                    <a:lnTo>
                      <a:pt x="90" y="931"/>
                    </a:lnTo>
                    <a:lnTo>
                      <a:pt x="50" y="781"/>
                    </a:lnTo>
                    <a:lnTo>
                      <a:pt x="140" y="741"/>
                    </a:lnTo>
                    <a:lnTo>
                      <a:pt x="150" y="641"/>
                    </a:lnTo>
                    <a:lnTo>
                      <a:pt x="100" y="551"/>
                    </a:lnTo>
                    <a:lnTo>
                      <a:pt x="276" y="510"/>
                    </a:lnTo>
                    <a:lnTo>
                      <a:pt x="163" y="340"/>
                    </a:lnTo>
                    <a:lnTo>
                      <a:pt x="215" y="89"/>
                    </a:lnTo>
                    <a:lnTo>
                      <a:pt x="309" y="47"/>
                    </a:lnTo>
                    <a:lnTo>
                      <a:pt x="400" y="106"/>
                    </a:lnTo>
                    <a:lnTo>
                      <a:pt x="519" y="17"/>
                    </a:lnTo>
                    <a:lnTo>
                      <a:pt x="616" y="0"/>
                    </a:lnTo>
                    <a:lnTo>
                      <a:pt x="640" y="115"/>
                    </a:lnTo>
                    <a:lnTo>
                      <a:pt x="730" y="55"/>
                    </a:lnTo>
                    <a:lnTo>
                      <a:pt x="930" y="161"/>
                    </a:lnTo>
                    <a:lnTo>
                      <a:pt x="1070" y="231"/>
                    </a:lnTo>
                    <a:lnTo>
                      <a:pt x="1296" y="170"/>
                    </a:lnTo>
                    <a:lnTo>
                      <a:pt x="1410" y="226"/>
                    </a:lnTo>
                    <a:lnTo>
                      <a:pt x="1460" y="461"/>
                    </a:lnTo>
                    <a:lnTo>
                      <a:pt x="1410" y="680"/>
                    </a:lnTo>
                    <a:lnTo>
                      <a:pt x="1310" y="931"/>
                    </a:lnTo>
                    <a:lnTo>
                      <a:pt x="1340" y="1171"/>
                    </a:lnTo>
                    <a:lnTo>
                      <a:pt x="1410" y="1351"/>
                    </a:lnTo>
                    <a:lnTo>
                      <a:pt x="1270" y="1341"/>
                    </a:lnTo>
                    <a:lnTo>
                      <a:pt x="1070" y="1381"/>
                    </a:lnTo>
                    <a:lnTo>
                      <a:pt x="880" y="1361"/>
                    </a:lnTo>
                    <a:lnTo>
                      <a:pt x="580" y="1421"/>
                    </a:lnTo>
                    <a:lnTo>
                      <a:pt x="231" y="1567"/>
                    </a:lnTo>
                    <a:close/>
                  </a:path>
                </a:pathLst>
              </a:custGeom>
              <a:solidFill>
                <a:srgbClr val="0069B3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5" name="Freeform 116">
                <a:extLst>
                  <a:ext uri="{FF2B5EF4-FFF2-40B4-BE49-F238E27FC236}">
                    <a16:creationId xmlns:a16="http://schemas.microsoft.com/office/drawing/2014/main" id="{91CCC9A7-6FCF-44AF-B108-EC9DA7C4C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105" y="3141017"/>
                <a:ext cx="162602" cy="339629"/>
              </a:xfrm>
              <a:custGeom>
                <a:avLst/>
                <a:gdLst/>
                <a:ahLst/>
                <a:cxnLst>
                  <a:cxn ang="0">
                    <a:pos x="298" y="45"/>
                  </a:cxn>
                  <a:cxn ang="0">
                    <a:pos x="304" y="127"/>
                  </a:cxn>
                  <a:cxn ang="0">
                    <a:pos x="252" y="227"/>
                  </a:cxn>
                  <a:cxn ang="0">
                    <a:pos x="116" y="227"/>
                  </a:cxn>
                  <a:cxn ang="0">
                    <a:pos x="25" y="318"/>
                  </a:cxn>
                  <a:cxn ang="0">
                    <a:pos x="0" y="383"/>
                  </a:cxn>
                  <a:cxn ang="0">
                    <a:pos x="96" y="487"/>
                  </a:cxn>
                  <a:cxn ang="0">
                    <a:pos x="96" y="571"/>
                  </a:cxn>
                  <a:cxn ang="0">
                    <a:pos x="140" y="655"/>
                  </a:cxn>
                  <a:cxn ang="0">
                    <a:pos x="120" y="1079"/>
                  </a:cxn>
                  <a:cxn ang="0">
                    <a:pos x="140" y="1175"/>
                  </a:cxn>
                  <a:cxn ang="0">
                    <a:pos x="200" y="1179"/>
                  </a:cxn>
                  <a:cxn ang="0">
                    <a:pos x="280" y="1211"/>
                  </a:cxn>
                  <a:cxn ang="0">
                    <a:pos x="340" y="1197"/>
                  </a:cxn>
                  <a:cxn ang="0">
                    <a:pos x="343" y="774"/>
                  </a:cxn>
                  <a:cxn ang="0">
                    <a:pos x="387" y="638"/>
                  </a:cxn>
                  <a:cxn ang="0">
                    <a:pos x="493" y="533"/>
                  </a:cxn>
                  <a:cxn ang="0">
                    <a:pos x="562" y="423"/>
                  </a:cxn>
                  <a:cxn ang="0">
                    <a:pos x="570" y="318"/>
                  </a:cxn>
                  <a:cxn ang="0">
                    <a:pos x="520" y="158"/>
                  </a:cxn>
                  <a:cxn ang="0">
                    <a:pos x="552" y="111"/>
                  </a:cxn>
                  <a:cxn ang="0">
                    <a:pos x="486" y="105"/>
                  </a:cxn>
                  <a:cxn ang="0">
                    <a:pos x="388" y="0"/>
                  </a:cxn>
                  <a:cxn ang="0">
                    <a:pos x="298" y="45"/>
                  </a:cxn>
                </a:cxnLst>
                <a:rect l="0" t="0" r="r" b="b"/>
                <a:pathLst>
                  <a:path w="570" h="1211">
                    <a:moveTo>
                      <a:pt x="298" y="45"/>
                    </a:moveTo>
                    <a:lnTo>
                      <a:pt x="304" y="127"/>
                    </a:lnTo>
                    <a:lnTo>
                      <a:pt x="252" y="227"/>
                    </a:lnTo>
                    <a:lnTo>
                      <a:pt x="116" y="227"/>
                    </a:lnTo>
                    <a:lnTo>
                      <a:pt x="25" y="318"/>
                    </a:lnTo>
                    <a:lnTo>
                      <a:pt x="0" y="383"/>
                    </a:lnTo>
                    <a:lnTo>
                      <a:pt x="96" y="487"/>
                    </a:lnTo>
                    <a:lnTo>
                      <a:pt x="96" y="571"/>
                    </a:lnTo>
                    <a:lnTo>
                      <a:pt x="140" y="655"/>
                    </a:lnTo>
                    <a:lnTo>
                      <a:pt x="120" y="1079"/>
                    </a:lnTo>
                    <a:lnTo>
                      <a:pt x="140" y="1175"/>
                    </a:lnTo>
                    <a:lnTo>
                      <a:pt x="200" y="1179"/>
                    </a:lnTo>
                    <a:lnTo>
                      <a:pt x="280" y="1211"/>
                    </a:lnTo>
                    <a:lnTo>
                      <a:pt x="340" y="1197"/>
                    </a:lnTo>
                    <a:lnTo>
                      <a:pt x="343" y="774"/>
                    </a:lnTo>
                    <a:lnTo>
                      <a:pt x="387" y="638"/>
                    </a:lnTo>
                    <a:lnTo>
                      <a:pt x="493" y="533"/>
                    </a:lnTo>
                    <a:lnTo>
                      <a:pt x="562" y="423"/>
                    </a:lnTo>
                    <a:lnTo>
                      <a:pt x="570" y="318"/>
                    </a:lnTo>
                    <a:lnTo>
                      <a:pt x="520" y="158"/>
                    </a:lnTo>
                    <a:lnTo>
                      <a:pt x="552" y="111"/>
                    </a:lnTo>
                    <a:lnTo>
                      <a:pt x="486" y="105"/>
                    </a:lnTo>
                    <a:lnTo>
                      <a:pt x="388" y="0"/>
                    </a:lnTo>
                    <a:lnTo>
                      <a:pt x="298" y="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6" name="Freeform 117">
                <a:extLst>
                  <a:ext uri="{FF2B5EF4-FFF2-40B4-BE49-F238E27FC236}">
                    <a16:creationId xmlns:a16="http://schemas.microsoft.com/office/drawing/2014/main" id="{18BE858A-FAE8-4D8E-BA5A-83AEFD8BA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5484" y="3226251"/>
                <a:ext cx="687125" cy="460269"/>
              </a:xfrm>
              <a:custGeom>
                <a:avLst/>
                <a:gdLst/>
                <a:ahLst/>
                <a:cxnLst>
                  <a:cxn ang="0">
                    <a:pos x="2409" y="1106"/>
                  </a:cxn>
                  <a:cxn ang="0">
                    <a:pos x="2328" y="1164"/>
                  </a:cxn>
                  <a:cxn ang="0">
                    <a:pos x="2226" y="1134"/>
                  </a:cxn>
                  <a:cxn ang="0">
                    <a:pos x="2094" y="1098"/>
                  </a:cxn>
                  <a:cxn ang="0">
                    <a:pos x="2016" y="1182"/>
                  </a:cxn>
                  <a:cxn ang="0">
                    <a:pos x="1902" y="1134"/>
                  </a:cxn>
                  <a:cxn ang="0">
                    <a:pos x="1794" y="1188"/>
                  </a:cxn>
                  <a:cxn ang="0">
                    <a:pos x="1698" y="1254"/>
                  </a:cxn>
                  <a:cxn ang="0">
                    <a:pos x="1602" y="1212"/>
                  </a:cxn>
                  <a:cxn ang="0">
                    <a:pos x="1503" y="1330"/>
                  </a:cxn>
                  <a:cxn ang="0">
                    <a:pos x="1422" y="1308"/>
                  </a:cxn>
                  <a:cxn ang="0">
                    <a:pos x="1296" y="1302"/>
                  </a:cxn>
                  <a:cxn ang="0">
                    <a:pos x="1218" y="1272"/>
                  </a:cxn>
                  <a:cxn ang="0">
                    <a:pos x="1134" y="1278"/>
                  </a:cxn>
                  <a:cxn ang="0">
                    <a:pos x="1098" y="1206"/>
                  </a:cxn>
                  <a:cxn ang="0">
                    <a:pos x="1020" y="1158"/>
                  </a:cxn>
                  <a:cxn ang="0">
                    <a:pos x="913" y="1149"/>
                  </a:cxn>
                  <a:cxn ang="0">
                    <a:pos x="822" y="1212"/>
                  </a:cxn>
                  <a:cxn ang="0">
                    <a:pos x="786" y="1326"/>
                  </a:cxn>
                  <a:cxn ang="0">
                    <a:pos x="744" y="1434"/>
                  </a:cxn>
                  <a:cxn ang="0">
                    <a:pos x="654" y="1440"/>
                  </a:cxn>
                  <a:cxn ang="0">
                    <a:pos x="522" y="1434"/>
                  </a:cxn>
                  <a:cxn ang="0">
                    <a:pos x="378" y="1452"/>
                  </a:cxn>
                  <a:cxn ang="0">
                    <a:pos x="348" y="1536"/>
                  </a:cxn>
                  <a:cxn ang="0">
                    <a:pos x="354" y="1608"/>
                  </a:cxn>
                  <a:cxn ang="0">
                    <a:pos x="300" y="1643"/>
                  </a:cxn>
                  <a:cxn ang="0">
                    <a:pos x="236" y="1533"/>
                  </a:cxn>
                  <a:cxn ang="0">
                    <a:pos x="114" y="1421"/>
                  </a:cxn>
                  <a:cxn ang="0">
                    <a:pos x="60" y="1286"/>
                  </a:cxn>
                  <a:cxn ang="0">
                    <a:pos x="0" y="1230"/>
                  </a:cxn>
                  <a:cxn ang="0">
                    <a:pos x="5" y="981"/>
                  </a:cxn>
                  <a:cxn ang="0">
                    <a:pos x="30" y="828"/>
                  </a:cxn>
                  <a:cxn ang="0">
                    <a:pos x="170" y="680"/>
                  </a:cxn>
                  <a:cxn ang="0">
                    <a:pos x="291" y="671"/>
                  </a:cxn>
                  <a:cxn ang="0">
                    <a:pos x="366" y="611"/>
                  </a:cxn>
                  <a:cxn ang="0">
                    <a:pos x="413" y="660"/>
                  </a:cxn>
                  <a:cxn ang="0">
                    <a:pos x="525" y="596"/>
                  </a:cxn>
                  <a:cxn ang="0">
                    <a:pos x="750" y="579"/>
                  </a:cxn>
                  <a:cxn ang="0">
                    <a:pos x="866" y="437"/>
                  </a:cxn>
                  <a:cxn ang="0">
                    <a:pos x="1052" y="389"/>
                  </a:cxn>
                  <a:cxn ang="0">
                    <a:pos x="1169" y="317"/>
                  </a:cxn>
                  <a:cxn ang="0">
                    <a:pos x="1374" y="65"/>
                  </a:cxn>
                  <a:cxn ang="0">
                    <a:pos x="1502" y="0"/>
                  </a:cxn>
                  <a:cxn ang="0">
                    <a:pos x="1602" y="38"/>
                  </a:cxn>
                  <a:cxn ang="0">
                    <a:pos x="1701" y="150"/>
                  </a:cxn>
                  <a:cxn ang="0">
                    <a:pos x="1733" y="320"/>
                  </a:cxn>
                  <a:cxn ang="0">
                    <a:pos x="1715" y="446"/>
                  </a:cxn>
                  <a:cxn ang="0">
                    <a:pos x="1826" y="455"/>
                  </a:cxn>
                  <a:cxn ang="0">
                    <a:pos x="1853" y="546"/>
                  </a:cxn>
                  <a:cxn ang="0">
                    <a:pos x="1976" y="545"/>
                  </a:cxn>
                  <a:cxn ang="0">
                    <a:pos x="2049" y="630"/>
                  </a:cxn>
                  <a:cxn ang="0">
                    <a:pos x="2052" y="722"/>
                  </a:cxn>
                  <a:cxn ang="0">
                    <a:pos x="2178" y="768"/>
                  </a:cxn>
                  <a:cxn ang="0">
                    <a:pos x="2259" y="840"/>
                  </a:cxn>
                  <a:cxn ang="0">
                    <a:pos x="2267" y="929"/>
                  </a:cxn>
                  <a:cxn ang="0">
                    <a:pos x="2427" y="1019"/>
                  </a:cxn>
                  <a:cxn ang="0">
                    <a:pos x="2409" y="1106"/>
                  </a:cxn>
                </a:cxnLst>
                <a:rect l="0" t="0" r="r" b="b"/>
                <a:pathLst>
                  <a:path w="2427" h="1643">
                    <a:moveTo>
                      <a:pt x="2409" y="1106"/>
                    </a:moveTo>
                    <a:lnTo>
                      <a:pt x="2328" y="1164"/>
                    </a:lnTo>
                    <a:lnTo>
                      <a:pt x="2226" y="1134"/>
                    </a:lnTo>
                    <a:lnTo>
                      <a:pt x="2094" y="1098"/>
                    </a:lnTo>
                    <a:lnTo>
                      <a:pt x="2016" y="1182"/>
                    </a:lnTo>
                    <a:lnTo>
                      <a:pt x="1902" y="1134"/>
                    </a:lnTo>
                    <a:lnTo>
                      <a:pt x="1794" y="1188"/>
                    </a:lnTo>
                    <a:lnTo>
                      <a:pt x="1698" y="1254"/>
                    </a:lnTo>
                    <a:lnTo>
                      <a:pt x="1602" y="1212"/>
                    </a:lnTo>
                    <a:lnTo>
                      <a:pt x="1503" y="1330"/>
                    </a:lnTo>
                    <a:lnTo>
                      <a:pt x="1422" y="1308"/>
                    </a:lnTo>
                    <a:lnTo>
                      <a:pt x="1296" y="1302"/>
                    </a:lnTo>
                    <a:lnTo>
                      <a:pt x="1218" y="1272"/>
                    </a:lnTo>
                    <a:lnTo>
                      <a:pt x="1134" y="1278"/>
                    </a:lnTo>
                    <a:lnTo>
                      <a:pt x="1098" y="1206"/>
                    </a:lnTo>
                    <a:lnTo>
                      <a:pt x="1020" y="1158"/>
                    </a:lnTo>
                    <a:lnTo>
                      <a:pt x="913" y="1149"/>
                    </a:lnTo>
                    <a:lnTo>
                      <a:pt x="822" y="1212"/>
                    </a:lnTo>
                    <a:lnTo>
                      <a:pt x="786" y="1326"/>
                    </a:lnTo>
                    <a:lnTo>
                      <a:pt x="744" y="1434"/>
                    </a:lnTo>
                    <a:lnTo>
                      <a:pt x="654" y="1440"/>
                    </a:lnTo>
                    <a:lnTo>
                      <a:pt x="522" y="1434"/>
                    </a:lnTo>
                    <a:lnTo>
                      <a:pt x="378" y="1452"/>
                    </a:lnTo>
                    <a:lnTo>
                      <a:pt x="348" y="1536"/>
                    </a:lnTo>
                    <a:lnTo>
                      <a:pt x="354" y="1608"/>
                    </a:lnTo>
                    <a:lnTo>
                      <a:pt x="300" y="1643"/>
                    </a:lnTo>
                    <a:lnTo>
                      <a:pt x="236" y="1533"/>
                    </a:lnTo>
                    <a:lnTo>
                      <a:pt x="114" y="1421"/>
                    </a:lnTo>
                    <a:lnTo>
                      <a:pt x="60" y="1286"/>
                    </a:lnTo>
                    <a:lnTo>
                      <a:pt x="0" y="1230"/>
                    </a:lnTo>
                    <a:lnTo>
                      <a:pt x="5" y="981"/>
                    </a:lnTo>
                    <a:lnTo>
                      <a:pt x="30" y="828"/>
                    </a:lnTo>
                    <a:lnTo>
                      <a:pt x="170" y="680"/>
                    </a:lnTo>
                    <a:lnTo>
                      <a:pt x="291" y="671"/>
                    </a:lnTo>
                    <a:lnTo>
                      <a:pt x="366" y="611"/>
                    </a:lnTo>
                    <a:lnTo>
                      <a:pt x="413" y="660"/>
                    </a:lnTo>
                    <a:lnTo>
                      <a:pt x="525" y="596"/>
                    </a:lnTo>
                    <a:lnTo>
                      <a:pt x="750" y="579"/>
                    </a:lnTo>
                    <a:lnTo>
                      <a:pt x="866" y="437"/>
                    </a:lnTo>
                    <a:lnTo>
                      <a:pt x="1052" y="389"/>
                    </a:lnTo>
                    <a:lnTo>
                      <a:pt x="1169" y="317"/>
                    </a:lnTo>
                    <a:lnTo>
                      <a:pt x="1374" y="65"/>
                    </a:lnTo>
                    <a:lnTo>
                      <a:pt x="1502" y="0"/>
                    </a:lnTo>
                    <a:lnTo>
                      <a:pt x="1602" y="38"/>
                    </a:lnTo>
                    <a:lnTo>
                      <a:pt x="1701" y="150"/>
                    </a:lnTo>
                    <a:lnTo>
                      <a:pt x="1733" y="320"/>
                    </a:lnTo>
                    <a:lnTo>
                      <a:pt x="1715" y="446"/>
                    </a:lnTo>
                    <a:lnTo>
                      <a:pt x="1826" y="455"/>
                    </a:lnTo>
                    <a:lnTo>
                      <a:pt x="1853" y="546"/>
                    </a:lnTo>
                    <a:lnTo>
                      <a:pt x="1976" y="545"/>
                    </a:lnTo>
                    <a:lnTo>
                      <a:pt x="2049" y="630"/>
                    </a:lnTo>
                    <a:lnTo>
                      <a:pt x="2052" y="722"/>
                    </a:lnTo>
                    <a:lnTo>
                      <a:pt x="2178" y="768"/>
                    </a:lnTo>
                    <a:lnTo>
                      <a:pt x="2259" y="840"/>
                    </a:lnTo>
                    <a:lnTo>
                      <a:pt x="2267" y="929"/>
                    </a:lnTo>
                    <a:lnTo>
                      <a:pt x="2427" y="1019"/>
                    </a:lnTo>
                    <a:lnTo>
                      <a:pt x="2409" y="110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7" name="Freeform 118">
                <a:extLst>
                  <a:ext uri="{FF2B5EF4-FFF2-40B4-BE49-F238E27FC236}">
                    <a16:creationId xmlns:a16="http://schemas.microsoft.com/office/drawing/2014/main" id="{C3C5D4A9-6A4F-4359-9A5D-1AEEBE3AD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6333" y="3573748"/>
                <a:ext cx="439289" cy="500920"/>
              </a:xfrm>
              <a:custGeom>
                <a:avLst/>
                <a:gdLst/>
                <a:ahLst/>
                <a:cxnLst>
                  <a:cxn ang="0">
                    <a:pos x="25" y="90"/>
                  </a:cxn>
                  <a:cxn ang="0">
                    <a:pos x="32" y="198"/>
                  </a:cxn>
                  <a:cxn ang="0">
                    <a:pos x="144" y="390"/>
                  </a:cxn>
                  <a:cxn ang="0">
                    <a:pos x="232" y="510"/>
                  </a:cxn>
                  <a:cxn ang="0">
                    <a:pos x="264" y="622"/>
                  </a:cxn>
                  <a:cxn ang="0">
                    <a:pos x="280" y="726"/>
                  </a:cxn>
                  <a:cxn ang="0">
                    <a:pos x="152" y="846"/>
                  </a:cxn>
                  <a:cxn ang="0">
                    <a:pos x="0" y="1062"/>
                  </a:cxn>
                  <a:cxn ang="0">
                    <a:pos x="64" y="1158"/>
                  </a:cxn>
                  <a:cxn ang="0">
                    <a:pos x="184" y="1134"/>
                  </a:cxn>
                  <a:cxn ang="0">
                    <a:pos x="232" y="1198"/>
                  </a:cxn>
                  <a:cxn ang="0">
                    <a:pos x="152" y="1262"/>
                  </a:cxn>
                  <a:cxn ang="0">
                    <a:pos x="72" y="1254"/>
                  </a:cxn>
                  <a:cxn ang="0">
                    <a:pos x="2" y="1305"/>
                  </a:cxn>
                  <a:cxn ang="0">
                    <a:pos x="56" y="1382"/>
                  </a:cxn>
                  <a:cxn ang="0">
                    <a:pos x="168" y="1462"/>
                  </a:cxn>
                  <a:cxn ang="0">
                    <a:pos x="416" y="1566"/>
                  </a:cxn>
                  <a:cxn ang="0">
                    <a:pos x="616" y="1726"/>
                  </a:cxn>
                  <a:cxn ang="0">
                    <a:pos x="752" y="1758"/>
                  </a:cxn>
                  <a:cxn ang="0">
                    <a:pos x="904" y="1878"/>
                  </a:cxn>
                  <a:cxn ang="0">
                    <a:pos x="928" y="2006"/>
                  </a:cxn>
                  <a:cxn ang="0">
                    <a:pos x="1088" y="2126"/>
                  </a:cxn>
                  <a:cxn ang="0">
                    <a:pos x="1216" y="2238"/>
                  </a:cxn>
                  <a:cxn ang="0">
                    <a:pos x="1368" y="2174"/>
                  </a:cxn>
                  <a:cxn ang="0">
                    <a:pos x="1416" y="2006"/>
                  </a:cxn>
                  <a:cxn ang="0">
                    <a:pos x="1480" y="1894"/>
                  </a:cxn>
                  <a:cxn ang="0">
                    <a:pos x="1504" y="1798"/>
                  </a:cxn>
                  <a:cxn ang="0">
                    <a:pos x="1624" y="1750"/>
                  </a:cxn>
                  <a:cxn ang="0">
                    <a:pos x="1712" y="1630"/>
                  </a:cxn>
                  <a:cxn ang="0">
                    <a:pos x="1848" y="1530"/>
                  </a:cxn>
                  <a:cxn ang="0">
                    <a:pos x="1695" y="1366"/>
                  </a:cxn>
                  <a:cxn ang="0">
                    <a:pos x="1678" y="453"/>
                  </a:cxn>
                  <a:cxn ang="0">
                    <a:pos x="1924" y="138"/>
                  </a:cxn>
                  <a:cxn ang="0">
                    <a:pos x="1710" y="138"/>
                  </a:cxn>
                  <a:cxn ang="0">
                    <a:pos x="1626" y="55"/>
                  </a:cxn>
                  <a:cxn ang="0">
                    <a:pos x="1441" y="168"/>
                  </a:cxn>
                  <a:cxn ang="0">
                    <a:pos x="1366" y="271"/>
                  </a:cxn>
                  <a:cxn ang="0">
                    <a:pos x="1201" y="226"/>
                  </a:cxn>
                  <a:cxn ang="0">
                    <a:pos x="1041" y="226"/>
                  </a:cxn>
                  <a:cxn ang="0">
                    <a:pos x="871" y="138"/>
                  </a:cxn>
                  <a:cxn ang="0">
                    <a:pos x="718" y="31"/>
                  </a:cxn>
                  <a:cxn ang="0">
                    <a:pos x="550" y="24"/>
                  </a:cxn>
                  <a:cxn ang="0">
                    <a:pos x="430" y="0"/>
                  </a:cxn>
                  <a:cxn ang="0">
                    <a:pos x="90" y="9"/>
                  </a:cxn>
                  <a:cxn ang="0">
                    <a:pos x="25" y="90"/>
                  </a:cxn>
                </a:cxnLst>
                <a:rect l="0" t="0" r="r" b="b"/>
                <a:pathLst>
                  <a:path w="1924" h="2238">
                    <a:moveTo>
                      <a:pt x="25" y="90"/>
                    </a:moveTo>
                    <a:lnTo>
                      <a:pt x="32" y="198"/>
                    </a:lnTo>
                    <a:lnTo>
                      <a:pt x="144" y="390"/>
                    </a:lnTo>
                    <a:lnTo>
                      <a:pt x="232" y="510"/>
                    </a:lnTo>
                    <a:lnTo>
                      <a:pt x="264" y="622"/>
                    </a:lnTo>
                    <a:lnTo>
                      <a:pt x="280" y="726"/>
                    </a:lnTo>
                    <a:lnTo>
                      <a:pt x="152" y="846"/>
                    </a:lnTo>
                    <a:lnTo>
                      <a:pt x="0" y="1062"/>
                    </a:lnTo>
                    <a:lnTo>
                      <a:pt x="64" y="1158"/>
                    </a:lnTo>
                    <a:lnTo>
                      <a:pt x="184" y="1134"/>
                    </a:lnTo>
                    <a:lnTo>
                      <a:pt x="232" y="1198"/>
                    </a:lnTo>
                    <a:lnTo>
                      <a:pt x="152" y="1262"/>
                    </a:lnTo>
                    <a:lnTo>
                      <a:pt x="72" y="1254"/>
                    </a:lnTo>
                    <a:lnTo>
                      <a:pt x="2" y="1305"/>
                    </a:lnTo>
                    <a:lnTo>
                      <a:pt x="56" y="1382"/>
                    </a:lnTo>
                    <a:lnTo>
                      <a:pt x="168" y="1462"/>
                    </a:lnTo>
                    <a:lnTo>
                      <a:pt x="416" y="1566"/>
                    </a:lnTo>
                    <a:lnTo>
                      <a:pt x="616" y="1726"/>
                    </a:lnTo>
                    <a:lnTo>
                      <a:pt x="752" y="1758"/>
                    </a:lnTo>
                    <a:lnTo>
                      <a:pt x="904" y="1878"/>
                    </a:lnTo>
                    <a:lnTo>
                      <a:pt x="928" y="2006"/>
                    </a:lnTo>
                    <a:lnTo>
                      <a:pt x="1088" y="2126"/>
                    </a:lnTo>
                    <a:lnTo>
                      <a:pt x="1216" y="2238"/>
                    </a:lnTo>
                    <a:lnTo>
                      <a:pt x="1368" y="2174"/>
                    </a:lnTo>
                    <a:lnTo>
                      <a:pt x="1416" y="2006"/>
                    </a:lnTo>
                    <a:lnTo>
                      <a:pt x="1480" y="1894"/>
                    </a:lnTo>
                    <a:lnTo>
                      <a:pt x="1504" y="1798"/>
                    </a:lnTo>
                    <a:lnTo>
                      <a:pt x="1624" y="1750"/>
                    </a:lnTo>
                    <a:lnTo>
                      <a:pt x="1712" y="1630"/>
                    </a:lnTo>
                    <a:lnTo>
                      <a:pt x="1848" y="1530"/>
                    </a:lnTo>
                    <a:lnTo>
                      <a:pt x="1695" y="1366"/>
                    </a:lnTo>
                    <a:lnTo>
                      <a:pt x="1678" y="453"/>
                    </a:lnTo>
                    <a:lnTo>
                      <a:pt x="1924" y="138"/>
                    </a:lnTo>
                    <a:lnTo>
                      <a:pt x="1710" y="138"/>
                    </a:lnTo>
                    <a:lnTo>
                      <a:pt x="1626" y="55"/>
                    </a:lnTo>
                    <a:lnTo>
                      <a:pt x="1441" y="168"/>
                    </a:lnTo>
                    <a:lnTo>
                      <a:pt x="1366" y="271"/>
                    </a:lnTo>
                    <a:lnTo>
                      <a:pt x="1201" y="226"/>
                    </a:lnTo>
                    <a:lnTo>
                      <a:pt x="1041" y="226"/>
                    </a:lnTo>
                    <a:lnTo>
                      <a:pt x="871" y="138"/>
                    </a:lnTo>
                    <a:lnTo>
                      <a:pt x="718" y="31"/>
                    </a:lnTo>
                    <a:lnTo>
                      <a:pt x="550" y="24"/>
                    </a:lnTo>
                    <a:lnTo>
                      <a:pt x="430" y="0"/>
                    </a:lnTo>
                    <a:lnTo>
                      <a:pt x="90" y="9"/>
                    </a:lnTo>
                    <a:lnTo>
                      <a:pt x="25" y="90"/>
                    </a:lnTo>
                    <a:close/>
                  </a:path>
                </a:pathLst>
              </a:custGeom>
              <a:solidFill>
                <a:srgbClr val="0069B3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8" name="Freeform 119">
                <a:extLst>
                  <a:ext uri="{FF2B5EF4-FFF2-40B4-BE49-F238E27FC236}">
                    <a16:creationId xmlns:a16="http://schemas.microsoft.com/office/drawing/2014/main" id="{BB106C7D-B4A0-4097-8498-C60AB7C59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5873" y="3594729"/>
                <a:ext cx="314714" cy="304223"/>
              </a:xfrm>
              <a:custGeom>
                <a:avLst/>
                <a:gdLst/>
                <a:ahLst/>
                <a:cxnLst>
                  <a:cxn ang="0">
                    <a:pos x="1143" y="106"/>
                  </a:cxn>
                  <a:cxn ang="0">
                    <a:pos x="1134" y="0"/>
                  </a:cxn>
                  <a:cxn ang="0">
                    <a:pos x="1069" y="84"/>
                  </a:cxn>
                  <a:cxn ang="0">
                    <a:pos x="640" y="157"/>
                  </a:cxn>
                  <a:cxn ang="0">
                    <a:pos x="454" y="105"/>
                  </a:cxn>
                  <a:cxn ang="0">
                    <a:pos x="328" y="171"/>
                  </a:cxn>
                  <a:cxn ang="0">
                    <a:pos x="352" y="289"/>
                  </a:cxn>
                  <a:cxn ang="0">
                    <a:pos x="346" y="406"/>
                  </a:cxn>
                  <a:cxn ang="0">
                    <a:pos x="405" y="472"/>
                  </a:cxn>
                  <a:cxn ang="0">
                    <a:pos x="436" y="546"/>
                  </a:cxn>
                  <a:cxn ang="0">
                    <a:pos x="292" y="703"/>
                  </a:cxn>
                  <a:cxn ang="0">
                    <a:pos x="76" y="868"/>
                  </a:cxn>
                  <a:cxn ang="0">
                    <a:pos x="66" y="1014"/>
                  </a:cxn>
                  <a:cxn ang="0">
                    <a:pos x="30" y="1141"/>
                  </a:cxn>
                  <a:cxn ang="0">
                    <a:pos x="0" y="1281"/>
                  </a:cxn>
                  <a:cxn ang="0">
                    <a:pos x="66" y="1326"/>
                  </a:cxn>
                  <a:cxn ang="0">
                    <a:pos x="130" y="1363"/>
                  </a:cxn>
                  <a:cxn ang="0">
                    <a:pos x="202" y="1333"/>
                  </a:cxn>
                  <a:cxn ang="0">
                    <a:pos x="256" y="1285"/>
                  </a:cxn>
                  <a:cxn ang="0">
                    <a:pos x="364" y="1279"/>
                  </a:cxn>
                  <a:cxn ang="0">
                    <a:pos x="472" y="1327"/>
                  </a:cxn>
                  <a:cxn ang="0">
                    <a:pos x="562" y="1303"/>
                  </a:cxn>
                  <a:cxn ang="0">
                    <a:pos x="616" y="1267"/>
                  </a:cxn>
                  <a:cxn ang="0">
                    <a:pos x="592" y="1219"/>
                  </a:cxn>
                  <a:cxn ang="0">
                    <a:pos x="598" y="1141"/>
                  </a:cxn>
                  <a:cxn ang="0">
                    <a:pos x="628" y="1081"/>
                  </a:cxn>
                  <a:cxn ang="0">
                    <a:pos x="688" y="1027"/>
                  </a:cxn>
                  <a:cxn ang="0">
                    <a:pos x="790" y="997"/>
                  </a:cxn>
                  <a:cxn ang="0">
                    <a:pos x="880" y="985"/>
                  </a:cxn>
                  <a:cxn ang="0">
                    <a:pos x="982" y="943"/>
                  </a:cxn>
                  <a:cxn ang="0">
                    <a:pos x="1048" y="991"/>
                  </a:cxn>
                  <a:cxn ang="0">
                    <a:pos x="1113" y="967"/>
                  </a:cxn>
                  <a:cxn ang="0">
                    <a:pos x="1261" y="753"/>
                  </a:cxn>
                  <a:cxn ang="0">
                    <a:pos x="1390" y="634"/>
                  </a:cxn>
                  <a:cxn ang="0">
                    <a:pos x="1377" y="541"/>
                  </a:cxn>
                  <a:cxn ang="0">
                    <a:pos x="1342" y="417"/>
                  </a:cxn>
                  <a:cxn ang="0">
                    <a:pos x="1257" y="301"/>
                  </a:cxn>
                  <a:cxn ang="0">
                    <a:pos x="1143" y="106"/>
                  </a:cxn>
                </a:cxnLst>
                <a:rect l="0" t="0" r="r" b="b"/>
                <a:pathLst>
                  <a:path w="1390" h="1363">
                    <a:moveTo>
                      <a:pt x="1143" y="106"/>
                    </a:moveTo>
                    <a:lnTo>
                      <a:pt x="1134" y="0"/>
                    </a:lnTo>
                    <a:lnTo>
                      <a:pt x="1069" y="84"/>
                    </a:lnTo>
                    <a:lnTo>
                      <a:pt x="640" y="157"/>
                    </a:lnTo>
                    <a:lnTo>
                      <a:pt x="454" y="105"/>
                    </a:lnTo>
                    <a:lnTo>
                      <a:pt x="328" y="171"/>
                    </a:lnTo>
                    <a:lnTo>
                      <a:pt x="352" y="289"/>
                    </a:lnTo>
                    <a:lnTo>
                      <a:pt x="346" y="406"/>
                    </a:lnTo>
                    <a:lnTo>
                      <a:pt x="405" y="472"/>
                    </a:lnTo>
                    <a:lnTo>
                      <a:pt x="436" y="546"/>
                    </a:lnTo>
                    <a:lnTo>
                      <a:pt x="292" y="703"/>
                    </a:lnTo>
                    <a:lnTo>
                      <a:pt x="76" y="868"/>
                    </a:lnTo>
                    <a:lnTo>
                      <a:pt x="66" y="1014"/>
                    </a:lnTo>
                    <a:lnTo>
                      <a:pt x="30" y="1141"/>
                    </a:lnTo>
                    <a:lnTo>
                      <a:pt x="0" y="1281"/>
                    </a:lnTo>
                    <a:lnTo>
                      <a:pt x="66" y="1326"/>
                    </a:lnTo>
                    <a:lnTo>
                      <a:pt x="130" y="1363"/>
                    </a:lnTo>
                    <a:lnTo>
                      <a:pt x="202" y="1333"/>
                    </a:lnTo>
                    <a:lnTo>
                      <a:pt x="256" y="1285"/>
                    </a:lnTo>
                    <a:lnTo>
                      <a:pt x="364" y="1279"/>
                    </a:lnTo>
                    <a:lnTo>
                      <a:pt x="472" y="1327"/>
                    </a:lnTo>
                    <a:lnTo>
                      <a:pt x="562" y="1303"/>
                    </a:lnTo>
                    <a:lnTo>
                      <a:pt x="616" y="1267"/>
                    </a:lnTo>
                    <a:lnTo>
                      <a:pt x="592" y="1219"/>
                    </a:lnTo>
                    <a:lnTo>
                      <a:pt x="598" y="1141"/>
                    </a:lnTo>
                    <a:lnTo>
                      <a:pt x="628" y="1081"/>
                    </a:lnTo>
                    <a:lnTo>
                      <a:pt x="688" y="1027"/>
                    </a:lnTo>
                    <a:lnTo>
                      <a:pt x="790" y="997"/>
                    </a:lnTo>
                    <a:lnTo>
                      <a:pt x="880" y="985"/>
                    </a:lnTo>
                    <a:lnTo>
                      <a:pt x="982" y="943"/>
                    </a:lnTo>
                    <a:lnTo>
                      <a:pt x="1048" y="991"/>
                    </a:lnTo>
                    <a:lnTo>
                      <a:pt x="1113" y="967"/>
                    </a:lnTo>
                    <a:lnTo>
                      <a:pt x="1261" y="753"/>
                    </a:lnTo>
                    <a:lnTo>
                      <a:pt x="1390" y="634"/>
                    </a:lnTo>
                    <a:lnTo>
                      <a:pt x="1377" y="541"/>
                    </a:lnTo>
                    <a:lnTo>
                      <a:pt x="1342" y="417"/>
                    </a:lnTo>
                    <a:lnTo>
                      <a:pt x="1257" y="301"/>
                    </a:lnTo>
                    <a:lnTo>
                      <a:pt x="1143" y="10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9" name="Freeform 120">
                <a:extLst>
                  <a:ext uri="{FF2B5EF4-FFF2-40B4-BE49-F238E27FC236}">
                    <a16:creationId xmlns:a16="http://schemas.microsoft.com/office/drawing/2014/main" id="{614489F1-0533-4916-BA59-46C843FB6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58" y="3892396"/>
                <a:ext cx="102282" cy="82613"/>
              </a:xfrm>
              <a:custGeom>
                <a:avLst/>
                <a:gdLst/>
                <a:ahLst/>
                <a:cxnLst>
                  <a:cxn ang="0">
                    <a:pos x="390" y="283"/>
                  </a:cxn>
                  <a:cxn ang="0">
                    <a:pos x="280" y="297"/>
                  </a:cxn>
                  <a:cxn ang="0">
                    <a:pos x="241" y="355"/>
                  </a:cxn>
                  <a:cxn ang="0">
                    <a:pos x="150" y="369"/>
                  </a:cxn>
                  <a:cxn ang="0">
                    <a:pos x="78" y="355"/>
                  </a:cxn>
                  <a:cxn ang="0">
                    <a:pos x="0" y="340"/>
                  </a:cxn>
                  <a:cxn ang="0">
                    <a:pos x="21" y="264"/>
                  </a:cxn>
                  <a:cxn ang="0">
                    <a:pos x="72" y="114"/>
                  </a:cxn>
                  <a:cxn ang="0">
                    <a:pos x="168" y="0"/>
                  </a:cxn>
                  <a:cxn ang="0">
                    <a:pos x="236" y="37"/>
                  </a:cxn>
                  <a:cxn ang="0">
                    <a:pos x="305" y="7"/>
                  </a:cxn>
                  <a:cxn ang="0">
                    <a:pos x="371" y="9"/>
                  </a:cxn>
                  <a:cxn ang="0">
                    <a:pos x="414" y="57"/>
                  </a:cxn>
                  <a:cxn ang="0">
                    <a:pos x="452" y="139"/>
                  </a:cxn>
                  <a:cxn ang="0">
                    <a:pos x="438" y="240"/>
                  </a:cxn>
                  <a:cxn ang="0">
                    <a:pos x="390" y="283"/>
                  </a:cxn>
                </a:cxnLst>
                <a:rect l="0" t="0" r="r" b="b"/>
                <a:pathLst>
                  <a:path w="452" h="369">
                    <a:moveTo>
                      <a:pt x="390" y="283"/>
                    </a:moveTo>
                    <a:lnTo>
                      <a:pt x="280" y="297"/>
                    </a:lnTo>
                    <a:lnTo>
                      <a:pt x="241" y="355"/>
                    </a:lnTo>
                    <a:lnTo>
                      <a:pt x="150" y="369"/>
                    </a:lnTo>
                    <a:lnTo>
                      <a:pt x="78" y="355"/>
                    </a:lnTo>
                    <a:lnTo>
                      <a:pt x="0" y="340"/>
                    </a:lnTo>
                    <a:lnTo>
                      <a:pt x="21" y="264"/>
                    </a:lnTo>
                    <a:lnTo>
                      <a:pt x="72" y="114"/>
                    </a:lnTo>
                    <a:lnTo>
                      <a:pt x="168" y="0"/>
                    </a:lnTo>
                    <a:lnTo>
                      <a:pt x="236" y="37"/>
                    </a:lnTo>
                    <a:lnTo>
                      <a:pt x="305" y="7"/>
                    </a:lnTo>
                    <a:lnTo>
                      <a:pt x="371" y="9"/>
                    </a:lnTo>
                    <a:lnTo>
                      <a:pt x="414" y="57"/>
                    </a:lnTo>
                    <a:lnTo>
                      <a:pt x="452" y="139"/>
                    </a:lnTo>
                    <a:lnTo>
                      <a:pt x="438" y="240"/>
                    </a:lnTo>
                    <a:lnTo>
                      <a:pt x="390" y="28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0" name="Freeform 121">
                <a:extLst>
                  <a:ext uri="{FF2B5EF4-FFF2-40B4-BE49-F238E27FC236}">
                    <a16:creationId xmlns:a16="http://schemas.microsoft.com/office/drawing/2014/main" id="{8EBB235D-AB39-4E3D-9C79-DBF64049D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2269" y="3955338"/>
                <a:ext cx="102282" cy="108839"/>
              </a:xfrm>
              <a:custGeom>
                <a:avLst/>
                <a:gdLst/>
                <a:ahLst/>
                <a:cxnLst>
                  <a:cxn ang="0">
                    <a:pos x="388" y="0"/>
                  </a:cxn>
                  <a:cxn ang="0">
                    <a:pos x="360" y="40"/>
                  </a:cxn>
                  <a:cxn ang="0">
                    <a:pos x="338" y="78"/>
                  </a:cxn>
                  <a:cxn ang="0">
                    <a:pos x="338" y="123"/>
                  </a:cxn>
                  <a:cxn ang="0">
                    <a:pos x="384" y="123"/>
                  </a:cxn>
                  <a:cxn ang="0">
                    <a:pos x="429" y="123"/>
                  </a:cxn>
                  <a:cxn ang="0">
                    <a:pos x="452" y="176"/>
                  </a:cxn>
                  <a:cxn ang="0">
                    <a:pos x="416" y="224"/>
                  </a:cxn>
                  <a:cxn ang="0">
                    <a:pos x="356" y="252"/>
                  </a:cxn>
                  <a:cxn ang="0">
                    <a:pos x="312" y="328"/>
                  </a:cxn>
                  <a:cxn ang="0">
                    <a:pos x="288" y="400"/>
                  </a:cxn>
                  <a:cxn ang="0">
                    <a:pos x="248" y="444"/>
                  </a:cxn>
                  <a:cxn ang="0">
                    <a:pos x="202" y="486"/>
                  </a:cxn>
                  <a:cxn ang="0">
                    <a:pos x="148" y="436"/>
                  </a:cxn>
                  <a:cxn ang="0">
                    <a:pos x="111" y="350"/>
                  </a:cxn>
                  <a:cxn ang="0">
                    <a:pos x="111" y="305"/>
                  </a:cxn>
                  <a:cxn ang="0">
                    <a:pos x="111" y="259"/>
                  </a:cxn>
                  <a:cxn ang="0">
                    <a:pos x="66" y="259"/>
                  </a:cxn>
                  <a:cxn ang="0">
                    <a:pos x="72" y="208"/>
                  </a:cxn>
                  <a:cxn ang="0">
                    <a:pos x="60" y="136"/>
                  </a:cxn>
                  <a:cxn ang="0">
                    <a:pos x="0" y="57"/>
                  </a:cxn>
                  <a:cxn ang="0">
                    <a:pos x="148" y="86"/>
                  </a:cxn>
                  <a:cxn ang="0">
                    <a:pos x="241" y="71"/>
                  </a:cxn>
                  <a:cxn ang="0">
                    <a:pos x="277" y="14"/>
                  </a:cxn>
                  <a:cxn ang="0">
                    <a:pos x="388" y="0"/>
                  </a:cxn>
                </a:cxnLst>
                <a:rect l="0" t="0" r="r" b="b"/>
                <a:pathLst>
                  <a:path w="452" h="486">
                    <a:moveTo>
                      <a:pt x="388" y="0"/>
                    </a:moveTo>
                    <a:lnTo>
                      <a:pt x="360" y="40"/>
                    </a:lnTo>
                    <a:lnTo>
                      <a:pt x="338" y="78"/>
                    </a:lnTo>
                    <a:lnTo>
                      <a:pt x="338" y="123"/>
                    </a:lnTo>
                    <a:lnTo>
                      <a:pt x="384" y="123"/>
                    </a:lnTo>
                    <a:lnTo>
                      <a:pt x="429" y="123"/>
                    </a:lnTo>
                    <a:lnTo>
                      <a:pt x="452" y="176"/>
                    </a:lnTo>
                    <a:lnTo>
                      <a:pt x="416" y="224"/>
                    </a:lnTo>
                    <a:lnTo>
                      <a:pt x="356" y="252"/>
                    </a:lnTo>
                    <a:lnTo>
                      <a:pt x="312" y="328"/>
                    </a:lnTo>
                    <a:lnTo>
                      <a:pt x="288" y="400"/>
                    </a:lnTo>
                    <a:lnTo>
                      <a:pt x="248" y="444"/>
                    </a:lnTo>
                    <a:lnTo>
                      <a:pt x="202" y="486"/>
                    </a:lnTo>
                    <a:lnTo>
                      <a:pt x="148" y="436"/>
                    </a:lnTo>
                    <a:lnTo>
                      <a:pt x="111" y="350"/>
                    </a:lnTo>
                    <a:lnTo>
                      <a:pt x="111" y="305"/>
                    </a:lnTo>
                    <a:lnTo>
                      <a:pt x="111" y="259"/>
                    </a:lnTo>
                    <a:lnTo>
                      <a:pt x="66" y="259"/>
                    </a:lnTo>
                    <a:lnTo>
                      <a:pt x="72" y="208"/>
                    </a:lnTo>
                    <a:lnTo>
                      <a:pt x="60" y="136"/>
                    </a:lnTo>
                    <a:lnTo>
                      <a:pt x="0" y="57"/>
                    </a:lnTo>
                    <a:lnTo>
                      <a:pt x="148" y="86"/>
                    </a:lnTo>
                    <a:lnTo>
                      <a:pt x="241" y="71"/>
                    </a:lnTo>
                    <a:lnTo>
                      <a:pt x="277" y="14"/>
                    </a:lnTo>
                    <a:lnTo>
                      <a:pt x="38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1" name="Freeform 122">
                <a:extLst>
                  <a:ext uri="{FF2B5EF4-FFF2-40B4-BE49-F238E27FC236}">
                    <a16:creationId xmlns:a16="http://schemas.microsoft.com/office/drawing/2014/main" id="{951D89DA-C675-4DBD-B0BC-72099C799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1608" y="3877972"/>
                <a:ext cx="580910" cy="592711"/>
              </a:xfrm>
              <a:custGeom>
                <a:avLst/>
                <a:gdLst/>
                <a:ahLst/>
                <a:cxnLst>
                  <a:cxn ang="0">
                    <a:pos x="1032" y="90"/>
                  </a:cxn>
                  <a:cxn ang="0">
                    <a:pos x="942" y="210"/>
                  </a:cxn>
                  <a:cxn ang="0">
                    <a:pos x="1038" y="294"/>
                  </a:cxn>
                  <a:cxn ang="0">
                    <a:pos x="936" y="408"/>
                  </a:cxn>
                  <a:cxn ang="0">
                    <a:pos x="822" y="402"/>
                  </a:cxn>
                  <a:cxn ang="0">
                    <a:pos x="786" y="510"/>
                  </a:cxn>
                  <a:cxn ang="0">
                    <a:pos x="768" y="384"/>
                  </a:cxn>
                  <a:cxn ang="0">
                    <a:pos x="606" y="336"/>
                  </a:cxn>
                  <a:cxn ang="0">
                    <a:pos x="540" y="438"/>
                  </a:cxn>
                  <a:cxn ang="0">
                    <a:pos x="516" y="366"/>
                  </a:cxn>
                  <a:cxn ang="0">
                    <a:pos x="486" y="210"/>
                  </a:cxn>
                  <a:cxn ang="0">
                    <a:pos x="495" y="36"/>
                  </a:cxn>
                  <a:cxn ang="0">
                    <a:pos x="294" y="11"/>
                  </a:cxn>
                  <a:cxn ang="0">
                    <a:pos x="134" y="66"/>
                  </a:cxn>
                  <a:cxn ang="0">
                    <a:pos x="239" y="113"/>
                  </a:cxn>
                  <a:cxn ang="0">
                    <a:pos x="263" y="300"/>
                  </a:cxn>
                  <a:cxn ang="0">
                    <a:pos x="164" y="419"/>
                  </a:cxn>
                  <a:cxn ang="0">
                    <a:pos x="257" y="464"/>
                  </a:cxn>
                  <a:cxn ang="0">
                    <a:pos x="243" y="566"/>
                  </a:cxn>
                  <a:cxn ang="0">
                    <a:pos x="141" y="671"/>
                  </a:cxn>
                  <a:cxn ang="0">
                    <a:pos x="77" y="786"/>
                  </a:cxn>
                  <a:cxn ang="0">
                    <a:pos x="18" y="870"/>
                  </a:cxn>
                  <a:cxn ang="0">
                    <a:pos x="18" y="1014"/>
                  </a:cxn>
                  <a:cxn ang="0">
                    <a:pos x="72" y="1200"/>
                  </a:cxn>
                  <a:cxn ang="0">
                    <a:pos x="12" y="1296"/>
                  </a:cxn>
                  <a:cxn ang="0">
                    <a:pos x="102" y="1332"/>
                  </a:cxn>
                  <a:cxn ang="0">
                    <a:pos x="210" y="1470"/>
                  </a:cxn>
                  <a:cxn ang="0">
                    <a:pos x="264" y="1680"/>
                  </a:cxn>
                  <a:cxn ang="0">
                    <a:pos x="366" y="1884"/>
                  </a:cxn>
                  <a:cxn ang="0">
                    <a:pos x="510" y="1962"/>
                  </a:cxn>
                  <a:cxn ang="0">
                    <a:pos x="714" y="2052"/>
                  </a:cxn>
                  <a:cxn ang="0">
                    <a:pos x="876" y="2100"/>
                  </a:cxn>
                  <a:cxn ang="0">
                    <a:pos x="1032" y="2070"/>
                  </a:cxn>
                  <a:cxn ang="0">
                    <a:pos x="1158" y="2184"/>
                  </a:cxn>
                  <a:cxn ang="0">
                    <a:pos x="1170" y="2406"/>
                  </a:cxn>
                  <a:cxn ang="0">
                    <a:pos x="1212" y="2520"/>
                  </a:cxn>
                  <a:cxn ang="0">
                    <a:pos x="1236" y="2622"/>
                  </a:cxn>
                  <a:cxn ang="0">
                    <a:pos x="1404" y="2574"/>
                  </a:cxn>
                  <a:cxn ang="0">
                    <a:pos x="1548" y="2640"/>
                  </a:cxn>
                  <a:cxn ang="0">
                    <a:pos x="1812" y="2646"/>
                  </a:cxn>
                  <a:cxn ang="0">
                    <a:pos x="1914" y="2550"/>
                  </a:cxn>
                  <a:cxn ang="0">
                    <a:pos x="2064" y="2562"/>
                  </a:cxn>
                  <a:cxn ang="0">
                    <a:pos x="2316" y="2478"/>
                  </a:cxn>
                  <a:cxn ang="0">
                    <a:pos x="2556" y="2346"/>
                  </a:cxn>
                  <a:cxn ang="0">
                    <a:pos x="2382" y="2208"/>
                  </a:cxn>
                  <a:cxn ang="0">
                    <a:pos x="2340" y="1992"/>
                  </a:cxn>
                  <a:cxn ang="0">
                    <a:pos x="2286" y="1746"/>
                  </a:cxn>
                  <a:cxn ang="0">
                    <a:pos x="2328" y="1560"/>
                  </a:cxn>
                  <a:cxn ang="0">
                    <a:pos x="2334" y="1404"/>
                  </a:cxn>
                  <a:cxn ang="0">
                    <a:pos x="2190" y="1320"/>
                  </a:cxn>
                  <a:cxn ang="0">
                    <a:pos x="2226" y="1140"/>
                  </a:cxn>
                  <a:cxn ang="0">
                    <a:pos x="2255" y="879"/>
                  </a:cxn>
                  <a:cxn ang="0">
                    <a:pos x="1968" y="645"/>
                  </a:cxn>
                  <a:cxn ang="0">
                    <a:pos x="1791" y="398"/>
                  </a:cxn>
                  <a:cxn ang="0">
                    <a:pos x="1458" y="207"/>
                  </a:cxn>
                  <a:cxn ang="0">
                    <a:pos x="1098" y="24"/>
                  </a:cxn>
                </a:cxnLst>
                <a:rect l="0" t="0" r="r" b="b"/>
                <a:pathLst>
                  <a:path w="2556" h="2646">
                    <a:moveTo>
                      <a:pt x="1098" y="24"/>
                    </a:moveTo>
                    <a:lnTo>
                      <a:pt x="1032" y="90"/>
                    </a:lnTo>
                    <a:lnTo>
                      <a:pt x="978" y="139"/>
                    </a:lnTo>
                    <a:lnTo>
                      <a:pt x="942" y="210"/>
                    </a:lnTo>
                    <a:lnTo>
                      <a:pt x="948" y="282"/>
                    </a:lnTo>
                    <a:lnTo>
                      <a:pt x="1038" y="294"/>
                    </a:lnTo>
                    <a:lnTo>
                      <a:pt x="990" y="354"/>
                    </a:lnTo>
                    <a:lnTo>
                      <a:pt x="936" y="408"/>
                    </a:lnTo>
                    <a:lnTo>
                      <a:pt x="852" y="396"/>
                    </a:lnTo>
                    <a:lnTo>
                      <a:pt x="822" y="402"/>
                    </a:lnTo>
                    <a:lnTo>
                      <a:pt x="828" y="450"/>
                    </a:lnTo>
                    <a:lnTo>
                      <a:pt x="786" y="510"/>
                    </a:lnTo>
                    <a:lnTo>
                      <a:pt x="720" y="474"/>
                    </a:lnTo>
                    <a:lnTo>
                      <a:pt x="768" y="384"/>
                    </a:lnTo>
                    <a:lnTo>
                      <a:pt x="678" y="390"/>
                    </a:lnTo>
                    <a:lnTo>
                      <a:pt x="606" y="336"/>
                    </a:lnTo>
                    <a:lnTo>
                      <a:pt x="595" y="407"/>
                    </a:lnTo>
                    <a:lnTo>
                      <a:pt x="540" y="438"/>
                    </a:lnTo>
                    <a:lnTo>
                      <a:pt x="510" y="426"/>
                    </a:lnTo>
                    <a:lnTo>
                      <a:pt x="516" y="366"/>
                    </a:lnTo>
                    <a:lnTo>
                      <a:pt x="480" y="294"/>
                    </a:lnTo>
                    <a:lnTo>
                      <a:pt x="486" y="210"/>
                    </a:lnTo>
                    <a:lnTo>
                      <a:pt x="545" y="0"/>
                    </a:lnTo>
                    <a:lnTo>
                      <a:pt x="495" y="36"/>
                    </a:lnTo>
                    <a:lnTo>
                      <a:pt x="402" y="59"/>
                    </a:lnTo>
                    <a:lnTo>
                      <a:pt x="294" y="11"/>
                    </a:lnTo>
                    <a:lnTo>
                      <a:pt x="186" y="18"/>
                    </a:lnTo>
                    <a:lnTo>
                      <a:pt x="134" y="66"/>
                    </a:lnTo>
                    <a:lnTo>
                      <a:pt x="200" y="69"/>
                    </a:lnTo>
                    <a:lnTo>
                      <a:pt x="239" y="113"/>
                    </a:lnTo>
                    <a:lnTo>
                      <a:pt x="278" y="200"/>
                    </a:lnTo>
                    <a:lnTo>
                      <a:pt x="263" y="300"/>
                    </a:lnTo>
                    <a:lnTo>
                      <a:pt x="215" y="342"/>
                    </a:lnTo>
                    <a:lnTo>
                      <a:pt x="164" y="419"/>
                    </a:lnTo>
                    <a:lnTo>
                      <a:pt x="167" y="464"/>
                    </a:lnTo>
                    <a:lnTo>
                      <a:pt x="257" y="464"/>
                    </a:lnTo>
                    <a:lnTo>
                      <a:pt x="281" y="518"/>
                    </a:lnTo>
                    <a:lnTo>
                      <a:pt x="243" y="566"/>
                    </a:lnTo>
                    <a:lnTo>
                      <a:pt x="182" y="594"/>
                    </a:lnTo>
                    <a:lnTo>
                      <a:pt x="141" y="671"/>
                    </a:lnTo>
                    <a:lnTo>
                      <a:pt x="117" y="740"/>
                    </a:lnTo>
                    <a:lnTo>
                      <a:pt x="77" y="786"/>
                    </a:lnTo>
                    <a:lnTo>
                      <a:pt x="29" y="827"/>
                    </a:lnTo>
                    <a:lnTo>
                      <a:pt x="18" y="870"/>
                    </a:lnTo>
                    <a:lnTo>
                      <a:pt x="6" y="936"/>
                    </a:lnTo>
                    <a:lnTo>
                      <a:pt x="18" y="1014"/>
                    </a:lnTo>
                    <a:lnTo>
                      <a:pt x="48" y="1122"/>
                    </a:lnTo>
                    <a:lnTo>
                      <a:pt x="72" y="1200"/>
                    </a:lnTo>
                    <a:lnTo>
                      <a:pt x="0" y="1218"/>
                    </a:lnTo>
                    <a:lnTo>
                      <a:pt x="12" y="1296"/>
                    </a:lnTo>
                    <a:lnTo>
                      <a:pt x="48" y="1338"/>
                    </a:lnTo>
                    <a:lnTo>
                      <a:pt x="102" y="1332"/>
                    </a:lnTo>
                    <a:lnTo>
                      <a:pt x="180" y="1380"/>
                    </a:lnTo>
                    <a:lnTo>
                      <a:pt x="210" y="1470"/>
                    </a:lnTo>
                    <a:lnTo>
                      <a:pt x="222" y="1560"/>
                    </a:lnTo>
                    <a:lnTo>
                      <a:pt x="264" y="1680"/>
                    </a:lnTo>
                    <a:lnTo>
                      <a:pt x="330" y="1782"/>
                    </a:lnTo>
                    <a:lnTo>
                      <a:pt x="366" y="1884"/>
                    </a:lnTo>
                    <a:lnTo>
                      <a:pt x="438" y="1896"/>
                    </a:lnTo>
                    <a:lnTo>
                      <a:pt x="510" y="1962"/>
                    </a:lnTo>
                    <a:lnTo>
                      <a:pt x="612" y="1986"/>
                    </a:lnTo>
                    <a:lnTo>
                      <a:pt x="714" y="2052"/>
                    </a:lnTo>
                    <a:lnTo>
                      <a:pt x="810" y="2088"/>
                    </a:lnTo>
                    <a:lnTo>
                      <a:pt x="876" y="2100"/>
                    </a:lnTo>
                    <a:lnTo>
                      <a:pt x="972" y="2124"/>
                    </a:lnTo>
                    <a:lnTo>
                      <a:pt x="1032" y="2070"/>
                    </a:lnTo>
                    <a:lnTo>
                      <a:pt x="1116" y="2136"/>
                    </a:lnTo>
                    <a:lnTo>
                      <a:pt x="1158" y="2184"/>
                    </a:lnTo>
                    <a:lnTo>
                      <a:pt x="1164" y="2322"/>
                    </a:lnTo>
                    <a:lnTo>
                      <a:pt x="1170" y="2406"/>
                    </a:lnTo>
                    <a:lnTo>
                      <a:pt x="1176" y="2472"/>
                    </a:lnTo>
                    <a:lnTo>
                      <a:pt x="1212" y="2520"/>
                    </a:lnTo>
                    <a:lnTo>
                      <a:pt x="1242" y="2562"/>
                    </a:lnTo>
                    <a:lnTo>
                      <a:pt x="1236" y="2622"/>
                    </a:lnTo>
                    <a:lnTo>
                      <a:pt x="1332" y="2598"/>
                    </a:lnTo>
                    <a:lnTo>
                      <a:pt x="1404" y="2574"/>
                    </a:lnTo>
                    <a:lnTo>
                      <a:pt x="1488" y="2562"/>
                    </a:lnTo>
                    <a:lnTo>
                      <a:pt x="1548" y="2640"/>
                    </a:lnTo>
                    <a:lnTo>
                      <a:pt x="1692" y="2634"/>
                    </a:lnTo>
                    <a:lnTo>
                      <a:pt x="1812" y="2646"/>
                    </a:lnTo>
                    <a:lnTo>
                      <a:pt x="1890" y="2610"/>
                    </a:lnTo>
                    <a:lnTo>
                      <a:pt x="1914" y="2550"/>
                    </a:lnTo>
                    <a:lnTo>
                      <a:pt x="1986" y="2514"/>
                    </a:lnTo>
                    <a:lnTo>
                      <a:pt x="2064" y="2562"/>
                    </a:lnTo>
                    <a:lnTo>
                      <a:pt x="2172" y="2502"/>
                    </a:lnTo>
                    <a:lnTo>
                      <a:pt x="2316" y="2478"/>
                    </a:lnTo>
                    <a:lnTo>
                      <a:pt x="2466" y="2412"/>
                    </a:lnTo>
                    <a:lnTo>
                      <a:pt x="2556" y="2346"/>
                    </a:lnTo>
                    <a:lnTo>
                      <a:pt x="2472" y="2262"/>
                    </a:lnTo>
                    <a:lnTo>
                      <a:pt x="2382" y="2208"/>
                    </a:lnTo>
                    <a:lnTo>
                      <a:pt x="2346" y="2118"/>
                    </a:lnTo>
                    <a:lnTo>
                      <a:pt x="2340" y="1992"/>
                    </a:lnTo>
                    <a:lnTo>
                      <a:pt x="2298" y="1878"/>
                    </a:lnTo>
                    <a:lnTo>
                      <a:pt x="2286" y="1746"/>
                    </a:lnTo>
                    <a:lnTo>
                      <a:pt x="2280" y="1644"/>
                    </a:lnTo>
                    <a:lnTo>
                      <a:pt x="2328" y="1560"/>
                    </a:lnTo>
                    <a:lnTo>
                      <a:pt x="2370" y="1446"/>
                    </a:lnTo>
                    <a:lnTo>
                      <a:pt x="2334" y="1404"/>
                    </a:lnTo>
                    <a:lnTo>
                      <a:pt x="2244" y="1398"/>
                    </a:lnTo>
                    <a:lnTo>
                      <a:pt x="2190" y="1320"/>
                    </a:lnTo>
                    <a:lnTo>
                      <a:pt x="2196" y="1230"/>
                    </a:lnTo>
                    <a:lnTo>
                      <a:pt x="2226" y="1140"/>
                    </a:lnTo>
                    <a:lnTo>
                      <a:pt x="2274" y="996"/>
                    </a:lnTo>
                    <a:lnTo>
                      <a:pt x="2255" y="879"/>
                    </a:lnTo>
                    <a:lnTo>
                      <a:pt x="2136" y="773"/>
                    </a:lnTo>
                    <a:lnTo>
                      <a:pt x="1968" y="645"/>
                    </a:lnTo>
                    <a:lnTo>
                      <a:pt x="1946" y="519"/>
                    </a:lnTo>
                    <a:lnTo>
                      <a:pt x="1791" y="398"/>
                    </a:lnTo>
                    <a:lnTo>
                      <a:pt x="1659" y="368"/>
                    </a:lnTo>
                    <a:lnTo>
                      <a:pt x="1458" y="207"/>
                    </a:lnTo>
                    <a:lnTo>
                      <a:pt x="1212" y="104"/>
                    </a:lnTo>
                    <a:lnTo>
                      <a:pt x="1098" y="24"/>
                    </a:lnTo>
                    <a:close/>
                  </a:path>
                </a:pathLst>
              </a:custGeom>
              <a:solidFill>
                <a:srgbClr val="0069B3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2" name="Freeform 123">
                <a:extLst>
                  <a:ext uri="{FF2B5EF4-FFF2-40B4-BE49-F238E27FC236}">
                    <a16:creationId xmlns:a16="http://schemas.microsoft.com/office/drawing/2014/main" id="{6528BBA7-FFCD-419B-B3E5-EB43B564A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6745" y="4271364"/>
                <a:ext cx="641230" cy="528457"/>
              </a:xfrm>
              <a:custGeom>
                <a:avLst/>
                <a:gdLst/>
                <a:ahLst/>
                <a:cxnLst>
                  <a:cxn ang="0">
                    <a:pos x="1902" y="50"/>
                  </a:cxn>
                  <a:cxn ang="0">
                    <a:pos x="1650" y="168"/>
                  </a:cxn>
                  <a:cxn ang="0">
                    <a:pos x="1626" y="387"/>
                  </a:cxn>
                  <a:cxn ang="0">
                    <a:pos x="1610" y="591"/>
                  </a:cxn>
                  <a:cxn ang="0">
                    <a:pos x="1589" y="921"/>
                  </a:cxn>
                  <a:cxn ang="0">
                    <a:pos x="1871" y="966"/>
                  </a:cxn>
                  <a:cxn ang="0">
                    <a:pos x="1709" y="1257"/>
                  </a:cxn>
                  <a:cxn ang="0">
                    <a:pos x="1343" y="921"/>
                  </a:cxn>
                  <a:cxn ang="0">
                    <a:pos x="1136" y="881"/>
                  </a:cxn>
                  <a:cxn ang="0">
                    <a:pos x="809" y="740"/>
                  </a:cxn>
                  <a:cxn ang="0">
                    <a:pos x="581" y="768"/>
                  </a:cxn>
                  <a:cxn ang="0">
                    <a:pos x="462" y="1167"/>
                  </a:cxn>
                  <a:cxn ang="0">
                    <a:pos x="0" y="1929"/>
                  </a:cxn>
                  <a:cxn ang="0">
                    <a:pos x="344" y="2286"/>
                  </a:cxn>
                  <a:cxn ang="0">
                    <a:pos x="519" y="2226"/>
                  </a:cxn>
                  <a:cxn ang="0">
                    <a:pos x="759" y="2280"/>
                  </a:cxn>
                  <a:cxn ang="0">
                    <a:pos x="993" y="2334"/>
                  </a:cxn>
                  <a:cxn ang="0">
                    <a:pos x="1155" y="2346"/>
                  </a:cxn>
                  <a:cxn ang="0">
                    <a:pos x="1335" y="2160"/>
                  </a:cxn>
                  <a:cxn ang="0">
                    <a:pos x="1557" y="2022"/>
                  </a:cxn>
                  <a:cxn ang="0">
                    <a:pos x="1601" y="1892"/>
                  </a:cxn>
                  <a:cxn ang="0">
                    <a:pos x="1767" y="1806"/>
                  </a:cxn>
                  <a:cxn ang="0">
                    <a:pos x="1899" y="1674"/>
                  </a:cxn>
                  <a:cxn ang="0">
                    <a:pos x="2175" y="1590"/>
                  </a:cxn>
                  <a:cxn ang="0">
                    <a:pos x="2391" y="1464"/>
                  </a:cxn>
                  <a:cxn ang="0">
                    <a:pos x="2577" y="1338"/>
                  </a:cxn>
                  <a:cxn ang="0">
                    <a:pos x="2625" y="1158"/>
                  </a:cxn>
                  <a:cxn ang="0">
                    <a:pos x="2739" y="1068"/>
                  </a:cxn>
                  <a:cxn ang="0">
                    <a:pos x="2715" y="870"/>
                  </a:cxn>
                  <a:cxn ang="0">
                    <a:pos x="2733" y="666"/>
                  </a:cxn>
                  <a:cxn ang="0">
                    <a:pos x="2829" y="570"/>
                  </a:cxn>
                  <a:cxn ang="0">
                    <a:pos x="2733" y="444"/>
                  </a:cxn>
                  <a:cxn ang="0">
                    <a:pos x="2684" y="329"/>
                  </a:cxn>
                  <a:cxn ang="0">
                    <a:pos x="2486" y="227"/>
                  </a:cxn>
                  <a:cxn ang="0">
                    <a:pos x="2310" y="137"/>
                  </a:cxn>
                  <a:cxn ang="0">
                    <a:pos x="2193" y="168"/>
                  </a:cxn>
                  <a:cxn ang="0">
                    <a:pos x="2079" y="66"/>
                  </a:cxn>
                </a:cxnLst>
                <a:rect l="0" t="0" r="r" b="b"/>
                <a:pathLst>
                  <a:path w="2829" h="2358">
                    <a:moveTo>
                      <a:pt x="2037" y="0"/>
                    </a:moveTo>
                    <a:lnTo>
                      <a:pt x="1902" y="50"/>
                    </a:lnTo>
                    <a:lnTo>
                      <a:pt x="1692" y="57"/>
                    </a:lnTo>
                    <a:lnTo>
                      <a:pt x="1650" y="168"/>
                    </a:lnTo>
                    <a:lnTo>
                      <a:pt x="1542" y="258"/>
                    </a:lnTo>
                    <a:lnTo>
                      <a:pt x="1626" y="387"/>
                    </a:lnTo>
                    <a:lnTo>
                      <a:pt x="1581" y="500"/>
                    </a:lnTo>
                    <a:lnTo>
                      <a:pt x="1610" y="591"/>
                    </a:lnTo>
                    <a:lnTo>
                      <a:pt x="1530" y="795"/>
                    </a:lnTo>
                    <a:lnTo>
                      <a:pt x="1589" y="921"/>
                    </a:lnTo>
                    <a:lnTo>
                      <a:pt x="1731" y="1017"/>
                    </a:lnTo>
                    <a:lnTo>
                      <a:pt x="1871" y="966"/>
                    </a:lnTo>
                    <a:lnTo>
                      <a:pt x="1871" y="1235"/>
                    </a:lnTo>
                    <a:lnTo>
                      <a:pt x="1709" y="1257"/>
                    </a:lnTo>
                    <a:lnTo>
                      <a:pt x="1536" y="1019"/>
                    </a:lnTo>
                    <a:lnTo>
                      <a:pt x="1343" y="921"/>
                    </a:lnTo>
                    <a:lnTo>
                      <a:pt x="1242" y="816"/>
                    </a:lnTo>
                    <a:lnTo>
                      <a:pt x="1136" y="881"/>
                    </a:lnTo>
                    <a:lnTo>
                      <a:pt x="966" y="851"/>
                    </a:lnTo>
                    <a:lnTo>
                      <a:pt x="809" y="740"/>
                    </a:lnTo>
                    <a:lnTo>
                      <a:pt x="713" y="746"/>
                    </a:lnTo>
                    <a:lnTo>
                      <a:pt x="581" y="768"/>
                    </a:lnTo>
                    <a:lnTo>
                      <a:pt x="485" y="918"/>
                    </a:lnTo>
                    <a:lnTo>
                      <a:pt x="462" y="1167"/>
                    </a:lnTo>
                    <a:lnTo>
                      <a:pt x="6" y="1152"/>
                    </a:lnTo>
                    <a:lnTo>
                      <a:pt x="0" y="1929"/>
                    </a:lnTo>
                    <a:lnTo>
                      <a:pt x="230" y="2178"/>
                    </a:lnTo>
                    <a:lnTo>
                      <a:pt x="344" y="2286"/>
                    </a:lnTo>
                    <a:lnTo>
                      <a:pt x="417" y="2232"/>
                    </a:lnTo>
                    <a:lnTo>
                      <a:pt x="519" y="2226"/>
                    </a:lnTo>
                    <a:lnTo>
                      <a:pt x="657" y="2232"/>
                    </a:lnTo>
                    <a:lnTo>
                      <a:pt x="759" y="2280"/>
                    </a:lnTo>
                    <a:lnTo>
                      <a:pt x="873" y="2310"/>
                    </a:lnTo>
                    <a:lnTo>
                      <a:pt x="993" y="2334"/>
                    </a:lnTo>
                    <a:lnTo>
                      <a:pt x="1083" y="2358"/>
                    </a:lnTo>
                    <a:lnTo>
                      <a:pt x="1155" y="2346"/>
                    </a:lnTo>
                    <a:lnTo>
                      <a:pt x="1263" y="2274"/>
                    </a:lnTo>
                    <a:lnTo>
                      <a:pt x="1335" y="2160"/>
                    </a:lnTo>
                    <a:lnTo>
                      <a:pt x="1467" y="2070"/>
                    </a:lnTo>
                    <a:lnTo>
                      <a:pt x="1557" y="2022"/>
                    </a:lnTo>
                    <a:lnTo>
                      <a:pt x="1611" y="1974"/>
                    </a:lnTo>
                    <a:lnTo>
                      <a:pt x="1601" y="1892"/>
                    </a:lnTo>
                    <a:lnTo>
                      <a:pt x="1677" y="1854"/>
                    </a:lnTo>
                    <a:lnTo>
                      <a:pt x="1767" y="1806"/>
                    </a:lnTo>
                    <a:lnTo>
                      <a:pt x="1875" y="1788"/>
                    </a:lnTo>
                    <a:lnTo>
                      <a:pt x="1899" y="1674"/>
                    </a:lnTo>
                    <a:lnTo>
                      <a:pt x="2049" y="1632"/>
                    </a:lnTo>
                    <a:lnTo>
                      <a:pt x="2175" y="1590"/>
                    </a:lnTo>
                    <a:lnTo>
                      <a:pt x="2307" y="1518"/>
                    </a:lnTo>
                    <a:lnTo>
                      <a:pt x="2391" y="1464"/>
                    </a:lnTo>
                    <a:lnTo>
                      <a:pt x="2475" y="1362"/>
                    </a:lnTo>
                    <a:lnTo>
                      <a:pt x="2577" y="1338"/>
                    </a:lnTo>
                    <a:lnTo>
                      <a:pt x="2643" y="1230"/>
                    </a:lnTo>
                    <a:lnTo>
                      <a:pt x="2625" y="1158"/>
                    </a:lnTo>
                    <a:lnTo>
                      <a:pt x="2631" y="1074"/>
                    </a:lnTo>
                    <a:lnTo>
                      <a:pt x="2739" y="1068"/>
                    </a:lnTo>
                    <a:lnTo>
                      <a:pt x="2715" y="984"/>
                    </a:lnTo>
                    <a:lnTo>
                      <a:pt x="2715" y="870"/>
                    </a:lnTo>
                    <a:lnTo>
                      <a:pt x="2733" y="762"/>
                    </a:lnTo>
                    <a:lnTo>
                      <a:pt x="2733" y="666"/>
                    </a:lnTo>
                    <a:lnTo>
                      <a:pt x="2775" y="606"/>
                    </a:lnTo>
                    <a:lnTo>
                      <a:pt x="2829" y="570"/>
                    </a:lnTo>
                    <a:lnTo>
                      <a:pt x="2769" y="504"/>
                    </a:lnTo>
                    <a:lnTo>
                      <a:pt x="2733" y="444"/>
                    </a:lnTo>
                    <a:lnTo>
                      <a:pt x="2739" y="341"/>
                    </a:lnTo>
                    <a:lnTo>
                      <a:pt x="2684" y="329"/>
                    </a:lnTo>
                    <a:lnTo>
                      <a:pt x="2588" y="293"/>
                    </a:lnTo>
                    <a:lnTo>
                      <a:pt x="2486" y="227"/>
                    </a:lnTo>
                    <a:lnTo>
                      <a:pt x="2387" y="204"/>
                    </a:lnTo>
                    <a:lnTo>
                      <a:pt x="2310" y="137"/>
                    </a:lnTo>
                    <a:lnTo>
                      <a:pt x="2240" y="126"/>
                    </a:lnTo>
                    <a:lnTo>
                      <a:pt x="2193" y="168"/>
                    </a:lnTo>
                    <a:lnTo>
                      <a:pt x="2139" y="132"/>
                    </a:lnTo>
                    <a:lnTo>
                      <a:pt x="2079" y="66"/>
                    </a:lnTo>
                    <a:lnTo>
                      <a:pt x="203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4" name="Freeform 124">
                <a:extLst>
                  <a:ext uri="{FF2B5EF4-FFF2-40B4-BE49-F238E27FC236}">
                    <a16:creationId xmlns:a16="http://schemas.microsoft.com/office/drawing/2014/main" id="{EB316B00-4714-4417-81F7-9F2FFB9029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0277" y="4348731"/>
                <a:ext cx="166537" cy="398638"/>
              </a:xfrm>
              <a:custGeom>
                <a:avLst/>
                <a:gdLst/>
                <a:ahLst/>
                <a:cxnLst>
                  <a:cxn ang="0">
                    <a:pos x="270" y="24"/>
                  </a:cxn>
                  <a:cxn ang="0">
                    <a:pos x="161" y="0"/>
                  </a:cxn>
                  <a:cxn ang="0">
                    <a:pos x="158" y="103"/>
                  </a:cxn>
                  <a:cxn ang="0">
                    <a:pos x="194" y="166"/>
                  </a:cxn>
                  <a:cxn ang="0">
                    <a:pos x="252" y="231"/>
                  </a:cxn>
                  <a:cxn ang="0">
                    <a:pos x="200" y="262"/>
                  </a:cxn>
                  <a:cxn ang="0">
                    <a:pos x="156" y="327"/>
                  </a:cxn>
                  <a:cxn ang="0">
                    <a:pos x="156" y="421"/>
                  </a:cxn>
                  <a:cxn ang="0">
                    <a:pos x="137" y="529"/>
                  </a:cxn>
                  <a:cxn ang="0">
                    <a:pos x="138" y="639"/>
                  </a:cxn>
                  <a:cxn ang="0">
                    <a:pos x="161" y="726"/>
                  </a:cxn>
                  <a:cxn ang="0">
                    <a:pos x="54" y="735"/>
                  </a:cxn>
                  <a:cxn ang="0">
                    <a:pos x="47" y="814"/>
                  </a:cxn>
                  <a:cxn ang="0">
                    <a:pos x="66" y="886"/>
                  </a:cxn>
                  <a:cxn ang="0">
                    <a:pos x="0" y="999"/>
                  </a:cxn>
                  <a:cxn ang="0">
                    <a:pos x="108" y="1069"/>
                  </a:cxn>
                  <a:cxn ang="0">
                    <a:pos x="138" y="1165"/>
                  </a:cxn>
                  <a:cxn ang="0">
                    <a:pos x="198" y="1201"/>
                  </a:cxn>
                  <a:cxn ang="0">
                    <a:pos x="318" y="1195"/>
                  </a:cxn>
                  <a:cxn ang="0">
                    <a:pos x="384" y="1195"/>
                  </a:cxn>
                  <a:cxn ang="0">
                    <a:pos x="438" y="1291"/>
                  </a:cxn>
                  <a:cxn ang="0">
                    <a:pos x="408" y="1369"/>
                  </a:cxn>
                  <a:cxn ang="0">
                    <a:pos x="377" y="1442"/>
                  </a:cxn>
                  <a:cxn ang="0">
                    <a:pos x="354" y="1543"/>
                  </a:cxn>
                  <a:cxn ang="0">
                    <a:pos x="384" y="1645"/>
                  </a:cxn>
                  <a:cxn ang="0">
                    <a:pos x="432" y="1723"/>
                  </a:cxn>
                  <a:cxn ang="0">
                    <a:pos x="510" y="1783"/>
                  </a:cxn>
                  <a:cxn ang="0">
                    <a:pos x="516" y="1675"/>
                  </a:cxn>
                  <a:cxn ang="0">
                    <a:pos x="564" y="1627"/>
                  </a:cxn>
                  <a:cxn ang="0">
                    <a:pos x="618" y="1597"/>
                  </a:cxn>
                  <a:cxn ang="0">
                    <a:pos x="678" y="1573"/>
                  </a:cxn>
                  <a:cxn ang="0">
                    <a:pos x="702" y="1471"/>
                  </a:cxn>
                  <a:cxn ang="0">
                    <a:pos x="672" y="1375"/>
                  </a:cxn>
                  <a:cxn ang="0">
                    <a:pos x="732" y="1309"/>
                  </a:cxn>
                  <a:cxn ang="0">
                    <a:pos x="708" y="1249"/>
                  </a:cxn>
                  <a:cxn ang="0">
                    <a:pos x="660" y="1171"/>
                  </a:cxn>
                  <a:cxn ang="0">
                    <a:pos x="600" y="1063"/>
                  </a:cxn>
                  <a:cxn ang="0">
                    <a:pos x="576" y="1117"/>
                  </a:cxn>
                  <a:cxn ang="0">
                    <a:pos x="606" y="1153"/>
                  </a:cxn>
                  <a:cxn ang="0">
                    <a:pos x="558" y="1165"/>
                  </a:cxn>
                  <a:cxn ang="0">
                    <a:pos x="486" y="1111"/>
                  </a:cxn>
                  <a:cxn ang="0">
                    <a:pos x="462" y="1153"/>
                  </a:cxn>
                  <a:cxn ang="0">
                    <a:pos x="408" y="1111"/>
                  </a:cxn>
                  <a:cxn ang="0">
                    <a:pos x="426" y="1033"/>
                  </a:cxn>
                  <a:cxn ang="0">
                    <a:pos x="402" y="979"/>
                  </a:cxn>
                  <a:cxn ang="0">
                    <a:pos x="360" y="937"/>
                  </a:cxn>
                  <a:cxn ang="0">
                    <a:pos x="354" y="847"/>
                  </a:cxn>
                  <a:cxn ang="0">
                    <a:pos x="336" y="733"/>
                  </a:cxn>
                  <a:cxn ang="0">
                    <a:pos x="288" y="643"/>
                  </a:cxn>
                  <a:cxn ang="0">
                    <a:pos x="324" y="565"/>
                  </a:cxn>
                  <a:cxn ang="0">
                    <a:pos x="384" y="493"/>
                  </a:cxn>
                  <a:cxn ang="0">
                    <a:pos x="360" y="409"/>
                  </a:cxn>
                  <a:cxn ang="0">
                    <a:pos x="330" y="331"/>
                  </a:cxn>
                  <a:cxn ang="0">
                    <a:pos x="366" y="217"/>
                  </a:cxn>
                  <a:cxn ang="0">
                    <a:pos x="318" y="157"/>
                  </a:cxn>
                  <a:cxn ang="0">
                    <a:pos x="288" y="97"/>
                  </a:cxn>
                  <a:cxn ang="0">
                    <a:pos x="270" y="24"/>
                  </a:cxn>
                </a:cxnLst>
                <a:rect l="0" t="0" r="r" b="b"/>
                <a:pathLst>
                  <a:path w="732" h="1783">
                    <a:moveTo>
                      <a:pt x="270" y="24"/>
                    </a:moveTo>
                    <a:lnTo>
                      <a:pt x="161" y="0"/>
                    </a:lnTo>
                    <a:lnTo>
                      <a:pt x="158" y="103"/>
                    </a:lnTo>
                    <a:lnTo>
                      <a:pt x="194" y="166"/>
                    </a:lnTo>
                    <a:lnTo>
                      <a:pt x="252" y="231"/>
                    </a:lnTo>
                    <a:lnTo>
                      <a:pt x="200" y="262"/>
                    </a:lnTo>
                    <a:lnTo>
                      <a:pt x="156" y="327"/>
                    </a:lnTo>
                    <a:lnTo>
                      <a:pt x="156" y="421"/>
                    </a:lnTo>
                    <a:lnTo>
                      <a:pt x="137" y="529"/>
                    </a:lnTo>
                    <a:lnTo>
                      <a:pt x="138" y="639"/>
                    </a:lnTo>
                    <a:lnTo>
                      <a:pt x="161" y="726"/>
                    </a:lnTo>
                    <a:lnTo>
                      <a:pt x="54" y="735"/>
                    </a:lnTo>
                    <a:lnTo>
                      <a:pt x="47" y="814"/>
                    </a:lnTo>
                    <a:lnTo>
                      <a:pt x="66" y="886"/>
                    </a:lnTo>
                    <a:lnTo>
                      <a:pt x="0" y="999"/>
                    </a:lnTo>
                    <a:lnTo>
                      <a:pt x="108" y="1069"/>
                    </a:lnTo>
                    <a:lnTo>
                      <a:pt x="138" y="1165"/>
                    </a:lnTo>
                    <a:lnTo>
                      <a:pt x="198" y="1201"/>
                    </a:lnTo>
                    <a:lnTo>
                      <a:pt x="318" y="1195"/>
                    </a:lnTo>
                    <a:lnTo>
                      <a:pt x="384" y="1195"/>
                    </a:lnTo>
                    <a:lnTo>
                      <a:pt x="438" y="1291"/>
                    </a:lnTo>
                    <a:lnTo>
                      <a:pt x="408" y="1369"/>
                    </a:lnTo>
                    <a:lnTo>
                      <a:pt x="377" y="1442"/>
                    </a:lnTo>
                    <a:lnTo>
                      <a:pt x="354" y="1543"/>
                    </a:lnTo>
                    <a:lnTo>
                      <a:pt x="384" y="1645"/>
                    </a:lnTo>
                    <a:lnTo>
                      <a:pt x="432" y="1723"/>
                    </a:lnTo>
                    <a:lnTo>
                      <a:pt x="510" y="1783"/>
                    </a:lnTo>
                    <a:lnTo>
                      <a:pt x="516" y="1675"/>
                    </a:lnTo>
                    <a:lnTo>
                      <a:pt x="564" y="1627"/>
                    </a:lnTo>
                    <a:lnTo>
                      <a:pt x="618" y="1597"/>
                    </a:lnTo>
                    <a:lnTo>
                      <a:pt x="678" y="1573"/>
                    </a:lnTo>
                    <a:lnTo>
                      <a:pt x="702" y="1471"/>
                    </a:lnTo>
                    <a:lnTo>
                      <a:pt x="672" y="1375"/>
                    </a:lnTo>
                    <a:lnTo>
                      <a:pt x="732" y="1309"/>
                    </a:lnTo>
                    <a:lnTo>
                      <a:pt x="708" y="1249"/>
                    </a:lnTo>
                    <a:lnTo>
                      <a:pt x="660" y="1171"/>
                    </a:lnTo>
                    <a:lnTo>
                      <a:pt x="600" y="1063"/>
                    </a:lnTo>
                    <a:lnTo>
                      <a:pt x="576" y="1117"/>
                    </a:lnTo>
                    <a:lnTo>
                      <a:pt x="606" y="1153"/>
                    </a:lnTo>
                    <a:lnTo>
                      <a:pt x="558" y="1165"/>
                    </a:lnTo>
                    <a:lnTo>
                      <a:pt x="486" y="1111"/>
                    </a:lnTo>
                    <a:lnTo>
                      <a:pt x="462" y="1153"/>
                    </a:lnTo>
                    <a:lnTo>
                      <a:pt x="408" y="1111"/>
                    </a:lnTo>
                    <a:lnTo>
                      <a:pt x="426" y="1033"/>
                    </a:lnTo>
                    <a:lnTo>
                      <a:pt x="402" y="979"/>
                    </a:lnTo>
                    <a:lnTo>
                      <a:pt x="360" y="937"/>
                    </a:lnTo>
                    <a:lnTo>
                      <a:pt x="354" y="847"/>
                    </a:lnTo>
                    <a:lnTo>
                      <a:pt x="336" y="733"/>
                    </a:lnTo>
                    <a:lnTo>
                      <a:pt x="288" y="643"/>
                    </a:lnTo>
                    <a:lnTo>
                      <a:pt x="324" y="565"/>
                    </a:lnTo>
                    <a:lnTo>
                      <a:pt x="384" y="493"/>
                    </a:lnTo>
                    <a:lnTo>
                      <a:pt x="360" y="409"/>
                    </a:lnTo>
                    <a:lnTo>
                      <a:pt x="330" y="331"/>
                    </a:lnTo>
                    <a:lnTo>
                      <a:pt x="366" y="217"/>
                    </a:lnTo>
                    <a:lnTo>
                      <a:pt x="318" y="157"/>
                    </a:lnTo>
                    <a:lnTo>
                      <a:pt x="288" y="97"/>
                    </a:lnTo>
                    <a:lnTo>
                      <a:pt x="270" y="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6" name="Freeform 125">
                <a:extLst>
                  <a:ext uri="{FF2B5EF4-FFF2-40B4-BE49-F238E27FC236}">
                    <a16:creationId xmlns:a16="http://schemas.microsoft.com/office/drawing/2014/main" id="{F9A75F3E-7CA9-440D-B38F-2A6C4383A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854" y="4342175"/>
                <a:ext cx="579598" cy="941519"/>
              </a:xfrm>
              <a:custGeom>
                <a:avLst/>
                <a:gdLst/>
                <a:ahLst/>
                <a:cxnLst>
                  <a:cxn ang="0">
                    <a:pos x="2487" y="553"/>
                  </a:cxn>
                  <a:cxn ang="0">
                    <a:pos x="2505" y="983"/>
                  </a:cxn>
                  <a:cxn ang="0">
                    <a:pos x="2533" y="1339"/>
                  </a:cxn>
                  <a:cxn ang="0">
                    <a:pos x="2258" y="1742"/>
                  </a:cxn>
                  <a:cxn ang="0">
                    <a:pos x="1810" y="1925"/>
                  </a:cxn>
                  <a:cxn ang="0">
                    <a:pos x="1490" y="2226"/>
                  </a:cxn>
                  <a:cxn ang="0">
                    <a:pos x="1161" y="2464"/>
                  </a:cxn>
                  <a:cxn ang="0">
                    <a:pos x="1115" y="2766"/>
                  </a:cxn>
                  <a:cxn ang="0">
                    <a:pos x="1198" y="3141"/>
                  </a:cxn>
                  <a:cxn ang="0">
                    <a:pos x="1106" y="3598"/>
                  </a:cxn>
                  <a:cxn ang="0">
                    <a:pos x="613" y="3826"/>
                  </a:cxn>
                  <a:cxn ang="0">
                    <a:pos x="503" y="4201"/>
                  </a:cxn>
                  <a:cxn ang="0">
                    <a:pos x="306" y="4164"/>
                  </a:cxn>
                  <a:cxn ang="0">
                    <a:pos x="320" y="3762"/>
                  </a:cxn>
                  <a:cxn ang="0">
                    <a:pos x="256" y="3415"/>
                  </a:cxn>
                  <a:cxn ang="0">
                    <a:pos x="475" y="2894"/>
                  </a:cxn>
                  <a:cxn ang="0">
                    <a:pos x="576" y="2610"/>
                  </a:cxn>
                  <a:cxn ang="0">
                    <a:pos x="603" y="2272"/>
                  </a:cxn>
                  <a:cxn ang="0">
                    <a:pos x="686" y="1861"/>
                  </a:cxn>
                  <a:cxn ang="0">
                    <a:pos x="448" y="1669"/>
                  </a:cxn>
                  <a:cxn ang="0">
                    <a:pos x="128" y="1531"/>
                  </a:cxn>
                  <a:cxn ang="0">
                    <a:pos x="140" y="1322"/>
                  </a:cxn>
                  <a:cxn ang="0">
                    <a:pos x="494" y="1151"/>
                  </a:cxn>
                  <a:cxn ang="0">
                    <a:pos x="786" y="1098"/>
                  </a:cxn>
                  <a:cxn ang="0">
                    <a:pos x="998" y="1224"/>
                  </a:cxn>
                  <a:cxn ang="0">
                    <a:pos x="1052" y="1481"/>
                  </a:cxn>
                  <a:cxn ang="0">
                    <a:pos x="1109" y="1751"/>
                  </a:cxn>
                  <a:cxn ang="0">
                    <a:pos x="1239" y="1658"/>
                  </a:cxn>
                  <a:cxn ang="0">
                    <a:pos x="1380" y="1502"/>
                  </a:cxn>
                  <a:cxn ang="0">
                    <a:pos x="1389" y="1284"/>
                  </a:cxn>
                  <a:cxn ang="0">
                    <a:pos x="1284" y="1184"/>
                  </a:cxn>
                  <a:cxn ang="0">
                    <a:pos x="1139" y="1182"/>
                  </a:cxn>
                  <a:cxn ang="0">
                    <a:pos x="1077" y="1004"/>
                  </a:cxn>
                  <a:cxn ang="0">
                    <a:pos x="1016" y="764"/>
                  </a:cxn>
                  <a:cxn ang="0">
                    <a:pos x="1061" y="522"/>
                  </a:cxn>
                  <a:cxn ang="0">
                    <a:pos x="1044" y="245"/>
                  </a:cxn>
                  <a:cxn ang="0">
                    <a:pos x="947" y="56"/>
                  </a:cxn>
                  <a:cxn ang="0">
                    <a:pos x="1133" y="114"/>
                  </a:cxn>
                  <a:cxn ang="0">
                    <a:pos x="1212" y="554"/>
                  </a:cxn>
                  <a:cxn ang="0">
                    <a:pos x="1464" y="491"/>
                  </a:cxn>
                  <a:cxn ang="0">
                    <a:pos x="1790" y="576"/>
                  </a:cxn>
                  <a:cxn ang="0">
                    <a:pos x="1962" y="443"/>
                  </a:cxn>
                  <a:cxn ang="0">
                    <a:pos x="2291" y="408"/>
                  </a:cxn>
                </a:cxnLst>
                <a:rect l="0" t="0" r="r" b="b"/>
                <a:pathLst>
                  <a:path w="2551" h="4201">
                    <a:moveTo>
                      <a:pt x="2531" y="278"/>
                    </a:moveTo>
                    <a:lnTo>
                      <a:pt x="2514" y="416"/>
                    </a:lnTo>
                    <a:lnTo>
                      <a:pt x="2487" y="553"/>
                    </a:lnTo>
                    <a:lnTo>
                      <a:pt x="2505" y="699"/>
                    </a:lnTo>
                    <a:lnTo>
                      <a:pt x="2551" y="837"/>
                    </a:lnTo>
                    <a:lnTo>
                      <a:pt x="2505" y="983"/>
                    </a:lnTo>
                    <a:lnTo>
                      <a:pt x="2523" y="1120"/>
                    </a:lnTo>
                    <a:lnTo>
                      <a:pt x="2551" y="1230"/>
                    </a:lnTo>
                    <a:lnTo>
                      <a:pt x="2533" y="1339"/>
                    </a:lnTo>
                    <a:lnTo>
                      <a:pt x="2450" y="1486"/>
                    </a:lnTo>
                    <a:lnTo>
                      <a:pt x="2368" y="1614"/>
                    </a:lnTo>
                    <a:lnTo>
                      <a:pt x="2258" y="1742"/>
                    </a:lnTo>
                    <a:lnTo>
                      <a:pt x="2121" y="1842"/>
                    </a:lnTo>
                    <a:lnTo>
                      <a:pt x="1947" y="1861"/>
                    </a:lnTo>
                    <a:lnTo>
                      <a:pt x="1810" y="1925"/>
                    </a:lnTo>
                    <a:lnTo>
                      <a:pt x="1646" y="2025"/>
                    </a:lnTo>
                    <a:lnTo>
                      <a:pt x="1573" y="2117"/>
                    </a:lnTo>
                    <a:lnTo>
                      <a:pt x="1490" y="2226"/>
                    </a:lnTo>
                    <a:lnTo>
                      <a:pt x="1390" y="2245"/>
                    </a:lnTo>
                    <a:lnTo>
                      <a:pt x="1298" y="2327"/>
                    </a:lnTo>
                    <a:lnTo>
                      <a:pt x="1161" y="2464"/>
                    </a:lnTo>
                    <a:lnTo>
                      <a:pt x="1006" y="2583"/>
                    </a:lnTo>
                    <a:lnTo>
                      <a:pt x="1042" y="2674"/>
                    </a:lnTo>
                    <a:lnTo>
                      <a:pt x="1115" y="2766"/>
                    </a:lnTo>
                    <a:lnTo>
                      <a:pt x="1079" y="2875"/>
                    </a:lnTo>
                    <a:lnTo>
                      <a:pt x="1134" y="3003"/>
                    </a:lnTo>
                    <a:lnTo>
                      <a:pt x="1198" y="3141"/>
                    </a:lnTo>
                    <a:lnTo>
                      <a:pt x="1161" y="3232"/>
                    </a:lnTo>
                    <a:lnTo>
                      <a:pt x="1143" y="3387"/>
                    </a:lnTo>
                    <a:lnTo>
                      <a:pt x="1106" y="3598"/>
                    </a:lnTo>
                    <a:lnTo>
                      <a:pt x="960" y="3671"/>
                    </a:lnTo>
                    <a:lnTo>
                      <a:pt x="795" y="3762"/>
                    </a:lnTo>
                    <a:lnTo>
                      <a:pt x="613" y="3826"/>
                    </a:lnTo>
                    <a:lnTo>
                      <a:pt x="475" y="3918"/>
                    </a:lnTo>
                    <a:lnTo>
                      <a:pt x="512" y="4073"/>
                    </a:lnTo>
                    <a:lnTo>
                      <a:pt x="503" y="4201"/>
                    </a:lnTo>
                    <a:lnTo>
                      <a:pt x="408" y="4182"/>
                    </a:lnTo>
                    <a:lnTo>
                      <a:pt x="358" y="4196"/>
                    </a:lnTo>
                    <a:lnTo>
                      <a:pt x="306" y="4164"/>
                    </a:lnTo>
                    <a:lnTo>
                      <a:pt x="326" y="4026"/>
                    </a:lnTo>
                    <a:lnTo>
                      <a:pt x="320" y="3927"/>
                    </a:lnTo>
                    <a:lnTo>
                      <a:pt x="320" y="3762"/>
                    </a:lnTo>
                    <a:lnTo>
                      <a:pt x="357" y="3625"/>
                    </a:lnTo>
                    <a:lnTo>
                      <a:pt x="329" y="3515"/>
                    </a:lnTo>
                    <a:lnTo>
                      <a:pt x="256" y="3415"/>
                    </a:lnTo>
                    <a:lnTo>
                      <a:pt x="229" y="3259"/>
                    </a:lnTo>
                    <a:lnTo>
                      <a:pt x="256" y="3104"/>
                    </a:lnTo>
                    <a:lnTo>
                      <a:pt x="475" y="2894"/>
                    </a:lnTo>
                    <a:lnTo>
                      <a:pt x="494" y="2784"/>
                    </a:lnTo>
                    <a:lnTo>
                      <a:pt x="485" y="2702"/>
                    </a:lnTo>
                    <a:lnTo>
                      <a:pt x="576" y="2610"/>
                    </a:lnTo>
                    <a:lnTo>
                      <a:pt x="658" y="2537"/>
                    </a:lnTo>
                    <a:lnTo>
                      <a:pt x="603" y="2427"/>
                    </a:lnTo>
                    <a:lnTo>
                      <a:pt x="603" y="2272"/>
                    </a:lnTo>
                    <a:lnTo>
                      <a:pt x="667" y="2162"/>
                    </a:lnTo>
                    <a:lnTo>
                      <a:pt x="667" y="2034"/>
                    </a:lnTo>
                    <a:lnTo>
                      <a:pt x="686" y="1861"/>
                    </a:lnTo>
                    <a:lnTo>
                      <a:pt x="658" y="1733"/>
                    </a:lnTo>
                    <a:lnTo>
                      <a:pt x="539" y="1705"/>
                    </a:lnTo>
                    <a:lnTo>
                      <a:pt x="448" y="1669"/>
                    </a:lnTo>
                    <a:lnTo>
                      <a:pt x="309" y="1563"/>
                    </a:lnTo>
                    <a:lnTo>
                      <a:pt x="238" y="1541"/>
                    </a:lnTo>
                    <a:lnTo>
                      <a:pt x="128" y="1531"/>
                    </a:lnTo>
                    <a:lnTo>
                      <a:pt x="55" y="1477"/>
                    </a:lnTo>
                    <a:lnTo>
                      <a:pt x="0" y="1364"/>
                    </a:lnTo>
                    <a:lnTo>
                      <a:pt x="140" y="1322"/>
                    </a:lnTo>
                    <a:lnTo>
                      <a:pt x="278" y="1278"/>
                    </a:lnTo>
                    <a:lnTo>
                      <a:pt x="414" y="1202"/>
                    </a:lnTo>
                    <a:lnTo>
                      <a:pt x="494" y="1151"/>
                    </a:lnTo>
                    <a:lnTo>
                      <a:pt x="578" y="1049"/>
                    </a:lnTo>
                    <a:lnTo>
                      <a:pt x="678" y="1026"/>
                    </a:lnTo>
                    <a:lnTo>
                      <a:pt x="786" y="1098"/>
                    </a:lnTo>
                    <a:lnTo>
                      <a:pt x="813" y="1190"/>
                    </a:lnTo>
                    <a:lnTo>
                      <a:pt x="875" y="1229"/>
                    </a:lnTo>
                    <a:lnTo>
                      <a:pt x="998" y="1224"/>
                    </a:lnTo>
                    <a:lnTo>
                      <a:pt x="1061" y="1223"/>
                    </a:lnTo>
                    <a:lnTo>
                      <a:pt x="1116" y="1320"/>
                    </a:lnTo>
                    <a:lnTo>
                      <a:pt x="1052" y="1481"/>
                    </a:lnTo>
                    <a:lnTo>
                      <a:pt x="1031" y="1572"/>
                    </a:lnTo>
                    <a:lnTo>
                      <a:pt x="1062" y="1673"/>
                    </a:lnTo>
                    <a:lnTo>
                      <a:pt x="1109" y="1751"/>
                    </a:lnTo>
                    <a:lnTo>
                      <a:pt x="1187" y="1812"/>
                    </a:lnTo>
                    <a:lnTo>
                      <a:pt x="1193" y="1703"/>
                    </a:lnTo>
                    <a:lnTo>
                      <a:pt x="1239" y="1658"/>
                    </a:lnTo>
                    <a:lnTo>
                      <a:pt x="1301" y="1623"/>
                    </a:lnTo>
                    <a:lnTo>
                      <a:pt x="1356" y="1604"/>
                    </a:lnTo>
                    <a:lnTo>
                      <a:pt x="1380" y="1502"/>
                    </a:lnTo>
                    <a:lnTo>
                      <a:pt x="1349" y="1404"/>
                    </a:lnTo>
                    <a:lnTo>
                      <a:pt x="1410" y="1337"/>
                    </a:lnTo>
                    <a:lnTo>
                      <a:pt x="1389" y="1284"/>
                    </a:lnTo>
                    <a:lnTo>
                      <a:pt x="1278" y="1095"/>
                    </a:lnTo>
                    <a:lnTo>
                      <a:pt x="1254" y="1146"/>
                    </a:lnTo>
                    <a:lnTo>
                      <a:pt x="1284" y="1184"/>
                    </a:lnTo>
                    <a:lnTo>
                      <a:pt x="1236" y="1193"/>
                    </a:lnTo>
                    <a:lnTo>
                      <a:pt x="1164" y="1140"/>
                    </a:lnTo>
                    <a:lnTo>
                      <a:pt x="1139" y="1182"/>
                    </a:lnTo>
                    <a:lnTo>
                      <a:pt x="1086" y="1140"/>
                    </a:lnTo>
                    <a:lnTo>
                      <a:pt x="1104" y="1062"/>
                    </a:lnTo>
                    <a:lnTo>
                      <a:pt x="1077" y="1004"/>
                    </a:lnTo>
                    <a:lnTo>
                      <a:pt x="1038" y="966"/>
                    </a:lnTo>
                    <a:lnTo>
                      <a:pt x="1034" y="891"/>
                    </a:lnTo>
                    <a:lnTo>
                      <a:pt x="1016" y="764"/>
                    </a:lnTo>
                    <a:lnTo>
                      <a:pt x="965" y="671"/>
                    </a:lnTo>
                    <a:lnTo>
                      <a:pt x="1001" y="593"/>
                    </a:lnTo>
                    <a:lnTo>
                      <a:pt x="1061" y="522"/>
                    </a:lnTo>
                    <a:lnTo>
                      <a:pt x="1038" y="441"/>
                    </a:lnTo>
                    <a:lnTo>
                      <a:pt x="1008" y="359"/>
                    </a:lnTo>
                    <a:lnTo>
                      <a:pt x="1044" y="245"/>
                    </a:lnTo>
                    <a:lnTo>
                      <a:pt x="999" y="192"/>
                    </a:lnTo>
                    <a:lnTo>
                      <a:pt x="966" y="129"/>
                    </a:lnTo>
                    <a:lnTo>
                      <a:pt x="947" y="56"/>
                    </a:lnTo>
                    <a:lnTo>
                      <a:pt x="1007" y="0"/>
                    </a:lnTo>
                    <a:lnTo>
                      <a:pt x="1089" y="65"/>
                    </a:lnTo>
                    <a:lnTo>
                      <a:pt x="1133" y="114"/>
                    </a:lnTo>
                    <a:lnTo>
                      <a:pt x="1151" y="401"/>
                    </a:lnTo>
                    <a:lnTo>
                      <a:pt x="1217" y="491"/>
                    </a:lnTo>
                    <a:lnTo>
                      <a:pt x="1212" y="554"/>
                    </a:lnTo>
                    <a:lnTo>
                      <a:pt x="1307" y="527"/>
                    </a:lnTo>
                    <a:lnTo>
                      <a:pt x="1379" y="504"/>
                    </a:lnTo>
                    <a:lnTo>
                      <a:pt x="1464" y="491"/>
                    </a:lnTo>
                    <a:lnTo>
                      <a:pt x="1524" y="570"/>
                    </a:lnTo>
                    <a:lnTo>
                      <a:pt x="1673" y="564"/>
                    </a:lnTo>
                    <a:lnTo>
                      <a:pt x="1790" y="576"/>
                    </a:lnTo>
                    <a:lnTo>
                      <a:pt x="1868" y="540"/>
                    </a:lnTo>
                    <a:lnTo>
                      <a:pt x="1889" y="479"/>
                    </a:lnTo>
                    <a:lnTo>
                      <a:pt x="1962" y="443"/>
                    </a:lnTo>
                    <a:lnTo>
                      <a:pt x="2040" y="491"/>
                    </a:lnTo>
                    <a:lnTo>
                      <a:pt x="2153" y="431"/>
                    </a:lnTo>
                    <a:lnTo>
                      <a:pt x="2291" y="408"/>
                    </a:lnTo>
                    <a:lnTo>
                      <a:pt x="2448" y="339"/>
                    </a:lnTo>
                    <a:lnTo>
                      <a:pt x="2531" y="278"/>
                    </a:lnTo>
                    <a:close/>
                  </a:path>
                </a:pathLst>
              </a:custGeom>
              <a:solidFill>
                <a:srgbClr val="0069B3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9" name="Freeform 126">
                <a:extLst>
                  <a:ext uri="{FF2B5EF4-FFF2-40B4-BE49-F238E27FC236}">
                    <a16:creationId xmlns:a16="http://schemas.microsoft.com/office/drawing/2014/main" id="{B324DD96-F866-449F-B2D5-73F1D51A8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281" y="4647709"/>
                <a:ext cx="418308" cy="388147"/>
              </a:xfrm>
              <a:custGeom>
                <a:avLst/>
                <a:gdLst/>
                <a:ahLst/>
                <a:cxnLst>
                  <a:cxn ang="0">
                    <a:pos x="1158" y="0"/>
                  </a:cxn>
                  <a:cxn ang="0">
                    <a:pos x="1134" y="111"/>
                  </a:cxn>
                  <a:cxn ang="0">
                    <a:pos x="1029" y="128"/>
                  </a:cxn>
                  <a:cxn ang="0">
                    <a:pos x="861" y="216"/>
                  </a:cxn>
                  <a:cxn ang="0">
                    <a:pos x="870" y="296"/>
                  </a:cxn>
                  <a:cxn ang="0">
                    <a:pos x="819" y="344"/>
                  </a:cxn>
                  <a:cxn ang="0">
                    <a:pos x="728" y="392"/>
                  </a:cxn>
                  <a:cxn ang="0">
                    <a:pos x="593" y="483"/>
                  </a:cxn>
                  <a:cxn ang="0">
                    <a:pos x="522" y="596"/>
                  </a:cxn>
                  <a:cxn ang="0">
                    <a:pos x="416" y="669"/>
                  </a:cxn>
                  <a:cxn ang="0">
                    <a:pos x="341" y="680"/>
                  </a:cxn>
                  <a:cxn ang="0">
                    <a:pos x="257" y="659"/>
                  </a:cxn>
                  <a:cxn ang="0">
                    <a:pos x="137" y="633"/>
                  </a:cxn>
                  <a:cxn ang="0">
                    <a:pos x="20" y="605"/>
                  </a:cxn>
                  <a:cxn ang="0">
                    <a:pos x="0" y="693"/>
                  </a:cxn>
                  <a:cxn ang="0">
                    <a:pos x="66" y="789"/>
                  </a:cxn>
                  <a:cxn ang="0">
                    <a:pos x="156" y="873"/>
                  </a:cxn>
                  <a:cxn ang="0">
                    <a:pos x="192" y="957"/>
                  </a:cxn>
                  <a:cxn ang="0">
                    <a:pos x="252" y="1077"/>
                  </a:cxn>
                  <a:cxn ang="0">
                    <a:pos x="348" y="1131"/>
                  </a:cxn>
                  <a:cxn ang="0">
                    <a:pos x="462" y="1191"/>
                  </a:cxn>
                  <a:cxn ang="0">
                    <a:pos x="486" y="1275"/>
                  </a:cxn>
                  <a:cxn ang="0">
                    <a:pos x="540" y="1299"/>
                  </a:cxn>
                  <a:cxn ang="0">
                    <a:pos x="582" y="1371"/>
                  </a:cxn>
                  <a:cxn ang="0">
                    <a:pos x="582" y="1461"/>
                  </a:cxn>
                  <a:cxn ang="0">
                    <a:pos x="630" y="1545"/>
                  </a:cxn>
                  <a:cxn ang="0">
                    <a:pos x="744" y="1539"/>
                  </a:cxn>
                  <a:cxn ang="0">
                    <a:pos x="846" y="1581"/>
                  </a:cxn>
                  <a:cxn ang="0">
                    <a:pos x="912" y="1671"/>
                  </a:cxn>
                  <a:cxn ang="0">
                    <a:pos x="1050" y="1671"/>
                  </a:cxn>
                  <a:cxn ang="0">
                    <a:pos x="1164" y="1731"/>
                  </a:cxn>
                  <a:cxn ang="0">
                    <a:pos x="1272" y="1725"/>
                  </a:cxn>
                  <a:cxn ang="0">
                    <a:pos x="1418" y="1736"/>
                  </a:cxn>
                  <a:cxn ang="0">
                    <a:pos x="1634" y="1529"/>
                  </a:cxn>
                  <a:cxn ang="0">
                    <a:pos x="1652" y="1418"/>
                  </a:cxn>
                  <a:cxn ang="0">
                    <a:pos x="1644" y="1334"/>
                  </a:cxn>
                  <a:cxn ang="0">
                    <a:pos x="1736" y="1241"/>
                  </a:cxn>
                  <a:cxn ang="0">
                    <a:pos x="1817" y="1173"/>
                  </a:cxn>
                  <a:cxn ang="0">
                    <a:pos x="1761" y="1059"/>
                  </a:cxn>
                  <a:cxn ang="0">
                    <a:pos x="1761" y="908"/>
                  </a:cxn>
                  <a:cxn ang="0">
                    <a:pos x="1826" y="795"/>
                  </a:cxn>
                  <a:cxn ang="0">
                    <a:pos x="1826" y="669"/>
                  </a:cxn>
                  <a:cxn ang="0">
                    <a:pos x="1844" y="491"/>
                  </a:cxn>
                  <a:cxn ang="0">
                    <a:pos x="1817" y="369"/>
                  </a:cxn>
                  <a:cxn ang="0">
                    <a:pos x="1703" y="342"/>
                  </a:cxn>
                  <a:cxn ang="0">
                    <a:pos x="1608" y="305"/>
                  </a:cxn>
                  <a:cxn ang="0">
                    <a:pos x="1463" y="197"/>
                  </a:cxn>
                  <a:cxn ang="0">
                    <a:pos x="1400" y="176"/>
                  </a:cxn>
                  <a:cxn ang="0">
                    <a:pos x="1287" y="165"/>
                  </a:cxn>
                  <a:cxn ang="0">
                    <a:pos x="1214" y="114"/>
                  </a:cxn>
                  <a:cxn ang="0">
                    <a:pos x="1158" y="0"/>
                  </a:cxn>
                </a:cxnLst>
                <a:rect l="0" t="0" r="r" b="b"/>
                <a:pathLst>
                  <a:path w="1844" h="1736">
                    <a:moveTo>
                      <a:pt x="1158" y="0"/>
                    </a:moveTo>
                    <a:lnTo>
                      <a:pt x="1134" y="111"/>
                    </a:lnTo>
                    <a:lnTo>
                      <a:pt x="1029" y="128"/>
                    </a:lnTo>
                    <a:lnTo>
                      <a:pt x="861" y="216"/>
                    </a:lnTo>
                    <a:lnTo>
                      <a:pt x="870" y="296"/>
                    </a:lnTo>
                    <a:lnTo>
                      <a:pt x="819" y="344"/>
                    </a:lnTo>
                    <a:lnTo>
                      <a:pt x="728" y="392"/>
                    </a:lnTo>
                    <a:lnTo>
                      <a:pt x="593" y="483"/>
                    </a:lnTo>
                    <a:lnTo>
                      <a:pt x="522" y="596"/>
                    </a:lnTo>
                    <a:lnTo>
                      <a:pt x="416" y="669"/>
                    </a:lnTo>
                    <a:lnTo>
                      <a:pt x="341" y="680"/>
                    </a:lnTo>
                    <a:lnTo>
                      <a:pt x="257" y="659"/>
                    </a:lnTo>
                    <a:lnTo>
                      <a:pt x="137" y="633"/>
                    </a:lnTo>
                    <a:lnTo>
                      <a:pt x="20" y="605"/>
                    </a:lnTo>
                    <a:lnTo>
                      <a:pt x="0" y="693"/>
                    </a:lnTo>
                    <a:lnTo>
                      <a:pt x="66" y="789"/>
                    </a:lnTo>
                    <a:lnTo>
                      <a:pt x="156" y="873"/>
                    </a:lnTo>
                    <a:lnTo>
                      <a:pt x="192" y="957"/>
                    </a:lnTo>
                    <a:lnTo>
                      <a:pt x="252" y="1077"/>
                    </a:lnTo>
                    <a:lnTo>
                      <a:pt x="348" y="1131"/>
                    </a:lnTo>
                    <a:lnTo>
                      <a:pt x="462" y="1191"/>
                    </a:lnTo>
                    <a:lnTo>
                      <a:pt x="486" y="1275"/>
                    </a:lnTo>
                    <a:lnTo>
                      <a:pt x="540" y="1299"/>
                    </a:lnTo>
                    <a:lnTo>
                      <a:pt x="582" y="1371"/>
                    </a:lnTo>
                    <a:lnTo>
                      <a:pt x="582" y="1461"/>
                    </a:lnTo>
                    <a:lnTo>
                      <a:pt x="630" y="1545"/>
                    </a:lnTo>
                    <a:lnTo>
                      <a:pt x="744" y="1539"/>
                    </a:lnTo>
                    <a:lnTo>
                      <a:pt x="846" y="1581"/>
                    </a:lnTo>
                    <a:lnTo>
                      <a:pt x="912" y="1671"/>
                    </a:lnTo>
                    <a:lnTo>
                      <a:pt x="1050" y="1671"/>
                    </a:lnTo>
                    <a:lnTo>
                      <a:pt x="1164" y="1731"/>
                    </a:lnTo>
                    <a:lnTo>
                      <a:pt x="1272" y="1725"/>
                    </a:lnTo>
                    <a:lnTo>
                      <a:pt x="1418" y="1736"/>
                    </a:lnTo>
                    <a:lnTo>
                      <a:pt x="1634" y="1529"/>
                    </a:lnTo>
                    <a:lnTo>
                      <a:pt x="1652" y="1418"/>
                    </a:lnTo>
                    <a:lnTo>
                      <a:pt x="1644" y="1334"/>
                    </a:lnTo>
                    <a:lnTo>
                      <a:pt x="1736" y="1241"/>
                    </a:lnTo>
                    <a:lnTo>
                      <a:pt x="1817" y="1173"/>
                    </a:lnTo>
                    <a:lnTo>
                      <a:pt x="1761" y="1059"/>
                    </a:lnTo>
                    <a:lnTo>
                      <a:pt x="1761" y="908"/>
                    </a:lnTo>
                    <a:lnTo>
                      <a:pt x="1826" y="795"/>
                    </a:lnTo>
                    <a:lnTo>
                      <a:pt x="1826" y="669"/>
                    </a:lnTo>
                    <a:lnTo>
                      <a:pt x="1844" y="491"/>
                    </a:lnTo>
                    <a:lnTo>
                      <a:pt x="1817" y="369"/>
                    </a:lnTo>
                    <a:lnTo>
                      <a:pt x="1703" y="342"/>
                    </a:lnTo>
                    <a:lnTo>
                      <a:pt x="1608" y="305"/>
                    </a:lnTo>
                    <a:lnTo>
                      <a:pt x="1463" y="197"/>
                    </a:lnTo>
                    <a:lnTo>
                      <a:pt x="1400" y="176"/>
                    </a:lnTo>
                    <a:lnTo>
                      <a:pt x="1287" y="165"/>
                    </a:lnTo>
                    <a:lnTo>
                      <a:pt x="1214" y="114"/>
                    </a:lnTo>
                    <a:lnTo>
                      <a:pt x="115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0" name="Freeform 127">
                <a:extLst>
                  <a:ext uri="{FF2B5EF4-FFF2-40B4-BE49-F238E27FC236}">
                    <a16:creationId xmlns:a16="http://schemas.microsoft.com/office/drawing/2014/main" id="{E5287F29-B56A-481A-A69E-422F8337D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3972" y="4770972"/>
                <a:ext cx="486496" cy="504854"/>
              </a:xfrm>
              <a:custGeom>
                <a:avLst/>
                <a:gdLst/>
                <a:ahLst/>
                <a:cxnLst>
                  <a:cxn ang="0">
                    <a:pos x="264" y="156"/>
                  </a:cxn>
                  <a:cxn ang="0">
                    <a:pos x="840" y="59"/>
                  </a:cxn>
                  <a:cxn ang="0">
                    <a:pos x="912" y="6"/>
                  </a:cxn>
                  <a:cxn ang="0">
                    <a:pos x="1010" y="0"/>
                  </a:cxn>
                  <a:cxn ang="0">
                    <a:pos x="1155" y="6"/>
                  </a:cxn>
                  <a:cxn ang="0">
                    <a:pos x="1256" y="54"/>
                  </a:cxn>
                  <a:cxn ang="0">
                    <a:pos x="1236" y="144"/>
                  </a:cxn>
                  <a:cxn ang="0">
                    <a:pos x="1301" y="239"/>
                  </a:cxn>
                  <a:cxn ang="0">
                    <a:pos x="1394" y="326"/>
                  </a:cxn>
                  <a:cxn ang="0">
                    <a:pos x="1434" y="419"/>
                  </a:cxn>
                  <a:cxn ang="0">
                    <a:pos x="1488" y="527"/>
                  </a:cxn>
                  <a:cxn ang="0">
                    <a:pos x="1589" y="584"/>
                  </a:cxn>
                  <a:cxn ang="0">
                    <a:pos x="1697" y="641"/>
                  </a:cxn>
                  <a:cxn ang="0">
                    <a:pos x="1722" y="725"/>
                  </a:cxn>
                  <a:cxn ang="0">
                    <a:pos x="1778" y="750"/>
                  </a:cxn>
                  <a:cxn ang="0">
                    <a:pos x="1818" y="825"/>
                  </a:cxn>
                  <a:cxn ang="0">
                    <a:pos x="1818" y="914"/>
                  </a:cxn>
                  <a:cxn ang="0">
                    <a:pos x="1865" y="995"/>
                  </a:cxn>
                  <a:cxn ang="0">
                    <a:pos x="1982" y="992"/>
                  </a:cxn>
                  <a:cxn ang="0">
                    <a:pos x="2082" y="1032"/>
                  </a:cxn>
                  <a:cxn ang="0">
                    <a:pos x="2148" y="1121"/>
                  </a:cxn>
                  <a:cxn ang="0">
                    <a:pos x="2088" y="1218"/>
                  </a:cxn>
                  <a:cxn ang="0">
                    <a:pos x="1938" y="1224"/>
                  </a:cxn>
                  <a:cxn ang="0">
                    <a:pos x="1860" y="1296"/>
                  </a:cxn>
                  <a:cxn ang="0">
                    <a:pos x="1794" y="1386"/>
                  </a:cxn>
                  <a:cxn ang="0">
                    <a:pos x="1704" y="1434"/>
                  </a:cxn>
                  <a:cxn ang="0">
                    <a:pos x="1626" y="1470"/>
                  </a:cxn>
                  <a:cxn ang="0">
                    <a:pos x="1596" y="1548"/>
                  </a:cxn>
                  <a:cxn ang="0">
                    <a:pos x="1584" y="1632"/>
                  </a:cxn>
                  <a:cxn ang="0">
                    <a:pos x="1476" y="1698"/>
                  </a:cxn>
                  <a:cxn ang="0">
                    <a:pos x="1350" y="1710"/>
                  </a:cxn>
                  <a:cxn ang="0">
                    <a:pos x="1326" y="1836"/>
                  </a:cxn>
                  <a:cxn ang="0">
                    <a:pos x="1290" y="1932"/>
                  </a:cxn>
                  <a:cxn ang="0">
                    <a:pos x="1182" y="1992"/>
                  </a:cxn>
                  <a:cxn ang="0">
                    <a:pos x="1050" y="1992"/>
                  </a:cxn>
                  <a:cxn ang="0">
                    <a:pos x="906" y="1956"/>
                  </a:cxn>
                  <a:cxn ang="0">
                    <a:pos x="774" y="1872"/>
                  </a:cxn>
                  <a:cxn ang="0">
                    <a:pos x="684" y="1890"/>
                  </a:cxn>
                  <a:cxn ang="0">
                    <a:pos x="642" y="2010"/>
                  </a:cxn>
                  <a:cxn ang="0">
                    <a:pos x="576" y="2088"/>
                  </a:cxn>
                  <a:cxn ang="0">
                    <a:pos x="426" y="2214"/>
                  </a:cxn>
                  <a:cxn ang="0">
                    <a:pos x="288" y="2250"/>
                  </a:cxn>
                  <a:cxn ang="0">
                    <a:pos x="216" y="2226"/>
                  </a:cxn>
                  <a:cxn ang="0">
                    <a:pos x="138" y="2190"/>
                  </a:cxn>
                  <a:cxn ang="0">
                    <a:pos x="186" y="2106"/>
                  </a:cxn>
                  <a:cxn ang="0">
                    <a:pos x="192" y="1992"/>
                  </a:cxn>
                  <a:cxn ang="0">
                    <a:pos x="180" y="1878"/>
                  </a:cxn>
                  <a:cxn ang="0">
                    <a:pos x="78" y="1800"/>
                  </a:cxn>
                  <a:cxn ang="0">
                    <a:pos x="24" y="1680"/>
                  </a:cxn>
                  <a:cxn ang="0">
                    <a:pos x="0" y="1074"/>
                  </a:cxn>
                  <a:cxn ang="0">
                    <a:pos x="246" y="1080"/>
                  </a:cxn>
                  <a:cxn ang="0">
                    <a:pos x="264" y="156"/>
                  </a:cxn>
                </a:cxnLst>
                <a:rect l="0" t="0" r="r" b="b"/>
                <a:pathLst>
                  <a:path w="2148" h="2250">
                    <a:moveTo>
                      <a:pt x="264" y="156"/>
                    </a:moveTo>
                    <a:lnTo>
                      <a:pt x="840" y="59"/>
                    </a:lnTo>
                    <a:lnTo>
                      <a:pt x="912" y="6"/>
                    </a:lnTo>
                    <a:lnTo>
                      <a:pt x="1010" y="0"/>
                    </a:lnTo>
                    <a:lnTo>
                      <a:pt x="1155" y="6"/>
                    </a:lnTo>
                    <a:lnTo>
                      <a:pt x="1256" y="54"/>
                    </a:lnTo>
                    <a:lnTo>
                      <a:pt x="1236" y="144"/>
                    </a:lnTo>
                    <a:lnTo>
                      <a:pt x="1301" y="239"/>
                    </a:lnTo>
                    <a:lnTo>
                      <a:pt x="1394" y="326"/>
                    </a:lnTo>
                    <a:lnTo>
                      <a:pt x="1434" y="419"/>
                    </a:lnTo>
                    <a:lnTo>
                      <a:pt x="1488" y="527"/>
                    </a:lnTo>
                    <a:lnTo>
                      <a:pt x="1589" y="584"/>
                    </a:lnTo>
                    <a:lnTo>
                      <a:pt x="1697" y="641"/>
                    </a:lnTo>
                    <a:lnTo>
                      <a:pt x="1722" y="725"/>
                    </a:lnTo>
                    <a:lnTo>
                      <a:pt x="1778" y="750"/>
                    </a:lnTo>
                    <a:lnTo>
                      <a:pt x="1818" y="825"/>
                    </a:lnTo>
                    <a:lnTo>
                      <a:pt x="1818" y="914"/>
                    </a:lnTo>
                    <a:lnTo>
                      <a:pt x="1865" y="995"/>
                    </a:lnTo>
                    <a:lnTo>
                      <a:pt x="1982" y="992"/>
                    </a:lnTo>
                    <a:lnTo>
                      <a:pt x="2082" y="1032"/>
                    </a:lnTo>
                    <a:lnTo>
                      <a:pt x="2148" y="1121"/>
                    </a:lnTo>
                    <a:lnTo>
                      <a:pt x="2088" y="1218"/>
                    </a:lnTo>
                    <a:lnTo>
                      <a:pt x="1938" y="1224"/>
                    </a:lnTo>
                    <a:lnTo>
                      <a:pt x="1860" y="1296"/>
                    </a:lnTo>
                    <a:lnTo>
                      <a:pt x="1794" y="1386"/>
                    </a:lnTo>
                    <a:lnTo>
                      <a:pt x="1704" y="1434"/>
                    </a:lnTo>
                    <a:lnTo>
                      <a:pt x="1626" y="1470"/>
                    </a:lnTo>
                    <a:lnTo>
                      <a:pt x="1596" y="1548"/>
                    </a:lnTo>
                    <a:lnTo>
                      <a:pt x="1584" y="1632"/>
                    </a:lnTo>
                    <a:lnTo>
                      <a:pt x="1476" y="1698"/>
                    </a:lnTo>
                    <a:lnTo>
                      <a:pt x="1350" y="1710"/>
                    </a:lnTo>
                    <a:lnTo>
                      <a:pt x="1326" y="1836"/>
                    </a:lnTo>
                    <a:lnTo>
                      <a:pt x="1290" y="1932"/>
                    </a:lnTo>
                    <a:lnTo>
                      <a:pt x="1182" y="1992"/>
                    </a:lnTo>
                    <a:lnTo>
                      <a:pt x="1050" y="1992"/>
                    </a:lnTo>
                    <a:lnTo>
                      <a:pt x="906" y="1956"/>
                    </a:lnTo>
                    <a:lnTo>
                      <a:pt x="774" y="1872"/>
                    </a:lnTo>
                    <a:lnTo>
                      <a:pt x="684" y="1890"/>
                    </a:lnTo>
                    <a:lnTo>
                      <a:pt x="642" y="2010"/>
                    </a:lnTo>
                    <a:lnTo>
                      <a:pt x="576" y="2088"/>
                    </a:lnTo>
                    <a:lnTo>
                      <a:pt x="426" y="2214"/>
                    </a:lnTo>
                    <a:lnTo>
                      <a:pt x="288" y="2250"/>
                    </a:lnTo>
                    <a:lnTo>
                      <a:pt x="216" y="2226"/>
                    </a:lnTo>
                    <a:lnTo>
                      <a:pt x="138" y="2190"/>
                    </a:lnTo>
                    <a:lnTo>
                      <a:pt x="186" y="2106"/>
                    </a:lnTo>
                    <a:lnTo>
                      <a:pt x="192" y="1992"/>
                    </a:lnTo>
                    <a:lnTo>
                      <a:pt x="180" y="1878"/>
                    </a:lnTo>
                    <a:lnTo>
                      <a:pt x="78" y="1800"/>
                    </a:lnTo>
                    <a:lnTo>
                      <a:pt x="24" y="1680"/>
                    </a:lnTo>
                    <a:lnTo>
                      <a:pt x="0" y="1074"/>
                    </a:lnTo>
                    <a:lnTo>
                      <a:pt x="246" y="1080"/>
                    </a:lnTo>
                    <a:lnTo>
                      <a:pt x="264" y="15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1" name="Freeform 128">
                <a:extLst>
                  <a:ext uri="{FF2B5EF4-FFF2-40B4-BE49-F238E27FC236}">
                    <a16:creationId xmlns:a16="http://schemas.microsoft.com/office/drawing/2014/main" id="{7C2036C4-216D-4CC0-8A0C-8AF938934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684" y="4748680"/>
                <a:ext cx="499609" cy="618937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80" y="66"/>
                  </a:cxn>
                  <a:cxn ang="0">
                    <a:pos x="299" y="0"/>
                  </a:cxn>
                  <a:cxn ang="0">
                    <a:pos x="420" y="14"/>
                  </a:cxn>
                  <a:cxn ang="0">
                    <a:pos x="564" y="113"/>
                  </a:cxn>
                  <a:cxn ang="0">
                    <a:pos x="675" y="89"/>
                  </a:cxn>
                  <a:cxn ang="0">
                    <a:pos x="1554" y="74"/>
                  </a:cxn>
                  <a:cxn ang="0">
                    <a:pos x="1670" y="179"/>
                  </a:cxn>
                  <a:cxn ang="0">
                    <a:pos x="1929" y="197"/>
                  </a:cxn>
                  <a:cxn ang="0">
                    <a:pos x="2201" y="255"/>
                  </a:cxn>
                  <a:cxn ang="0">
                    <a:pos x="2184" y="1178"/>
                  </a:cxn>
                  <a:cxn ang="0">
                    <a:pos x="1937" y="1175"/>
                  </a:cxn>
                  <a:cxn ang="0">
                    <a:pos x="1961" y="1781"/>
                  </a:cxn>
                  <a:cxn ang="0">
                    <a:pos x="1962" y="2685"/>
                  </a:cxn>
                  <a:cxn ang="0">
                    <a:pos x="1923" y="2684"/>
                  </a:cxn>
                  <a:cxn ang="0">
                    <a:pos x="1473" y="2685"/>
                  </a:cxn>
                  <a:cxn ang="0">
                    <a:pos x="1352" y="2535"/>
                  </a:cxn>
                  <a:cxn ang="0">
                    <a:pos x="1176" y="2769"/>
                  </a:cxn>
                  <a:cxn ang="0">
                    <a:pos x="1074" y="2691"/>
                  </a:cxn>
                  <a:cxn ang="0">
                    <a:pos x="972" y="2553"/>
                  </a:cxn>
                  <a:cxn ang="0">
                    <a:pos x="852" y="2355"/>
                  </a:cxn>
                  <a:cxn ang="0">
                    <a:pos x="852" y="2235"/>
                  </a:cxn>
                  <a:cxn ang="0">
                    <a:pos x="810" y="2151"/>
                  </a:cxn>
                  <a:cxn ang="0">
                    <a:pos x="774" y="2031"/>
                  </a:cxn>
                  <a:cxn ang="0">
                    <a:pos x="780" y="1875"/>
                  </a:cxn>
                  <a:cxn ang="0">
                    <a:pos x="696" y="1743"/>
                  </a:cxn>
                  <a:cxn ang="0">
                    <a:pos x="696" y="1587"/>
                  </a:cxn>
                  <a:cxn ang="0">
                    <a:pos x="660" y="1437"/>
                  </a:cxn>
                  <a:cxn ang="0">
                    <a:pos x="702" y="1329"/>
                  </a:cxn>
                  <a:cxn ang="0">
                    <a:pos x="648" y="1251"/>
                  </a:cxn>
                  <a:cxn ang="0">
                    <a:pos x="564" y="1143"/>
                  </a:cxn>
                  <a:cxn ang="0">
                    <a:pos x="414" y="939"/>
                  </a:cxn>
                  <a:cxn ang="0">
                    <a:pos x="402" y="807"/>
                  </a:cxn>
                  <a:cxn ang="0">
                    <a:pos x="264" y="603"/>
                  </a:cxn>
                  <a:cxn ang="0">
                    <a:pos x="198" y="441"/>
                  </a:cxn>
                  <a:cxn ang="0">
                    <a:pos x="96" y="375"/>
                  </a:cxn>
                  <a:cxn ang="0">
                    <a:pos x="12" y="261"/>
                  </a:cxn>
                  <a:cxn ang="0">
                    <a:pos x="0" y="171"/>
                  </a:cxn>
                  <a:cxn ang="0">
                    <a:pos x="9" y="45"/>
                  </a:cxn>
                </a:cxnLst>
                <a:rect l="0" t="0" r="r" b="b"/>
                <a:pathLst>
                  <a:path w="2201" h="2769">
                    <a:moveTo>
                      <a:pt x="9" y="45"/>
                    </a:moveTo>
                    <a:lnTo>
                      <a:pt x="180" y="66"/>
                    </a:lnTo>
                    <a:lnTo>
                      <a:pt x="299" y="0"/>
                    </a:lnTo>
                    <a:lnTo>
                      <a:pt x="420" y="14"/>
                    </a:lnTo>
                    <a:lnTo>
                      <a:pt x="564" y="113"/>
                    </a:lnTo>
                    <a:lnTo>
                      <a:pt x="675" y="89"/>
                    </a:lnTo>
                    <a:lnTo>
                      <a:pt x="1554" y="74"/>
                    </a:lnTo>
                    <a:lnTo>
                      <a:pt x="1670" y="179"/>
                    </a:lnTo>
                    <a:lnTo>
                      <a:pt x="1929" y="197"/>
                    </a:lnTo>
                    <a:lnTo>
                      <a:pt x="2201" y="255"/>
                    </a:lnTo>
                    <a:lnTo>
                      <a:pt x="2184" y="1178"/>
                    </a:lnTo>
                    <a:lnTo>
                      <a:pt x="1937" y="1175"/>
                    </a:lnTo>
                    <a:lnTo>
                      <a:pt x="1961" y="1781"/>
                    </a:lnTo>
                    <a:lnTo>
                      <a:pt x="1962" y="2685"/>
                    </a:lnTo>
                    <a:lnTo>
                      <a:pt x="1923" y="2684"/>
                    </a:lnTo>
                    <a:lnTo>
                      <a:pt x="1473" y="2685"/>
                    </a:lnTo>
                    <a:lnTo>
                      <a:pt x="1352" y="2535"/>
                    </a:lnTo>
                    <a:lnTo>
                      <a:pt x="1176" y="2769"/>
                    </a:lnTo>
                    <a:lnTo>
                      <a:pt x="1074" y="2691"/>
                    </a:lnTo>
                    <a:lnTo>
                      <a:pt x="972" y="2553"/>
                    </a:lnTo>
                    <a:lnTo>
                      <a:pt x="852" y="2355"/>
                    </a:lnTo>
                    <a:lnTo>
                      <a:pt x="852" y="2235"/>
                    </a:lnTo>
                    <a:lnTo>
                      <a:pt x="810" y="2151"/>
                    </a:lnTo>
                    <a:lnTo>
                      <a:pt x="774" y="2031"/>
                    </a:lnTo>
                    <a:lnTo>
                      <a:pt x="780" y="1875"/>
                    </a:lnTo>
                    <a:lnTo>
                      <a:pt x="696" y="1743"/>
                    </a:lnTo>
                    <a:lnTo>
                      <a:pt x="696" y="1587"/>
                    </a:lnTo>
                    <a:lnTo>
                      <a:pt x="660" y="1437"/>
                    </a:lnTo>
                    <a:lnTo>
                      <a:pt x="702" y="1329"/>
                    </a:lnTo>
                    <a:lnTo>
                      <a:pt x="648" y="1251"/>
                    </a:lnTo>
                    <a:lnTo>
                      <a:pt x="564" y="1143"/>
                    </a:lnTo>
                    <a:lnTo>
                      <a:pt x="414" y="939"/>
                    </a:lnTo>
                    <a:lnTo>
                      <a:pt x="402" y="807"/>
                    </a:lnTo>
                    <a:lnTo>
                      <a:pt x="264" y="603"/>
                    </a:lnTo>
                    <a:lnTo>
                      <a:pt x="198" y="441"/>
                    </a:lnTo>
                    <a:lnTo>
                      <a:pt x="96" y="375"/>
                    </a:lnTo>
                    <a:lnTo>
                      <a:pt x="12" y="261"/>
                    </a:lnTo>
                    <a:lnTo>
                      <a:pt x="0" y="171"/>
                    </a:lnTo>
                    <a:lnTo>
                      <a:pt x="9" y="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2" name="Freeform 129">
                <a:extLst>
                  <a:ext uri="{FF2B5EF4-FFF2-40B4-BE49-F238E27FC236}">
                    <a16:creationId xmlns:a16="http://schemas.microsoft.com/office/drawing/2014/main" id="{3C2FA172-9584-4DE5-809D-8FFD8EB12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2191" y="5021432"/>
                <a:ext cx="828747" cy="668767"/>
              </a:xfrm>
              <a:custGeom>
                <a:avLst/>
                <a:gdLst/>
                <a:ahLst/>
                <a:cxnLst>
                  <a:cxn ang="0">
                    <a:pos x="174" y="1312"/>
                  </a:cxn>
                  <a:cxn ang="0">
                    <a:pos x="784" y="1464"/>
                  </a:cxn>
                  <a:cxn ang="0">
                    <a:pos x="838" y="680"/>
                  </a:cxn>
                  <a:cxn ang="0">
                    <a:pos x="952" y="866"/>
                  </a:cxn>
                  <a:cxn ang="0">
                    <a:pos x="898" y="1068"/>
                  </a:cxn>
                  <a:cxn ang="0">
                    <a:pos x="1048" y="1127"/>
                  </a:cxn>
                  <a:cxn ang="0">
                    <a:pos x="1341" y="960"/>
                  </a:cxn>
                  <a:cxn ang="0">
                    <a:pos x="1443" y="768"/>
                  </a:cxn>
                  <a:cxn ang="0">
                    <a:pos x="1669" y="836"/>
                  </a:cxn>
                  <a:cxn ang="0">
                    <a:pos x="1942" y="870"/>
                  </a:cxn>
                  <a:cxn ang="0">
                    <a:pos x="2088" y="710"/>
                  </a:cxn>
                  <a:cxn ang="0">
                    <a:pos x="2236" y="576"/>
                  </a:cxn>
                  <a:cxn ang="0">
                    <a:pos x="2358" y="423"/>
                  </a:cxn>
                  <a:cxn ang="0">
                    <a:pos x="2473" y="308"/>
                  </a:cxn>
                  <a:cxn ang="0">
                    <a:pos x="2620" y="173"/>
                  </a:cxn>
                  <a:cxn ang="0">
                    <a:pos x="2847" y="95"/>
                  </a:cxn>
                  <a:cxn ang="0">
                    <a:pos x="3043" y="0"/>
                  </a:cxn>
                  <a:cxn ang="0">
                    <a:pos x="3258" y="54"/>
                  </a:cxn>
                  <a:cxn ang="0">
                    <a:pos x="3384" y="222"/>
                  </a:cxn>
                  <a:cxn ang="0">
                    <a:pos x="3484" y="480"/>
                  </a:cxn>
                  <a:cxn ang="0">
                    <a:pos x="3474" y="726"/>
                  </a:cxn>
                  <a:cxn ang="0">
                    <a:pos x="3480" y="996"/>
                  </a:cxn>
                  <a:cxn ang="0">
                    <a:pos x="3511" y="1161"/>
                  </a:cxn>
                  <a:cxn ang="0">
                    <a:pos x="3658" y="1164"/>
                  </a:cxn>
                  <a:cxn ang="0">
                    <a:pos x="3586" y="1374"/>
                  </a:cxn>
                  <a:cxn ang="0">
                    <a:pos x="3394" y="1620"/>
                  </a:cxn>
                  <a:cxn ang="0">
                    <a:pos x="3022" y="2112"/>
                  </a:cxn>
                  <a:cxn ang="0">
                    <a:pos x="2758" y="2328"/>
                  </a:cxn>
                  <a:cxn ang="0">
                    <a:pos x="2500" y="2586"/>
                  </a:cxn>
                  <a:cxn ang="0">
                    <a:pos x="2260" y="2718"/>
                  </a:cxn>
                  <a:cxn ang="0">
                    <a:pos x="2086" y="2724"/>
                  </a:cxn>
                  <a:cxn ang="0">
                    <a:pos x="1846" y="2796"/>
                  </a:cxn>
                  <a:cxn ang="0">
                    <a:pos x="1660" y="2832"/>
                  </a:cxn>
                  <a:cxn ang="0">
                    <a:pos x="1450" y="2832"/>
                  </a:cxn>
                  <a:cxn ang="0">
                    <a:pos x="1282" y="2814"/>
                  </a:cxn>
                  <a:cxn ang="0">
                    <a:pos x="1066" y="2892"/>
                  </a:cxn>
                  <a:cxn ang="0">
                    <a:pos x="766" y="2988"/>
                  </a:cxn>
                  <a:cxn ang="0">
                    <a:pos x="622" y="2886"/>
                  </a:cxn>
                  <a:cxn ang="0">
                    <a:pos x="472" y="2844"/>
                  </a:cxn>
                  <a:cxn ang="0">
                    <a:pos x="430" y="2724"/>
                  </a:cxn>
                  <a:cxn ang="0">
                    <a:pos x="334" y="2580"/>
                  </a:cxn>
                  <a:cxn ang="0">
                    <a:pos x="424" y="2484"/>
                  </a:cxn>
                  <a:cxn ang="0">
                    <a:pos x="400" y="2280"/>
                  </a:cxn>
                  <a:cxn ang="0">
                    <a:pos x="238" y="2028"/>
                  </a:cxn>
                  <a:cxn ang="0">
                    <a:pos x="148" y="1824"/>
                  </a:cxn>
                  <a:cxn ang="0">
                    <a:pos x="0" y="1548"/>
                  </a:cxn>
                </a:cxnLst>
                <a:rect l="0" t="0" r="r" b="b"/>
                <a:pathLst>
                  <a:path w="3658" h="2988">
                    <a:moveTo>
                      <a:pt x="0" y="1548"/>
                    </a:moveTo>
                    <a:lnTo>
                      <a:pt x="174" y="1312"/>
                    </a:lnTo>
                    <a:lnTo>
                      <a:pt x="294" y="1464"/>
                    </a:lnTo>
                    <a:lnTo>
                      <a:pt x="784" y="1464"/>
                    </a:lnTo>
                    <a:lnTo>
                      <a:pt x="784" y="560"/>
                    </a:lnTo>
                    <a:lnTo>
                      <a:pt x="838" y="680"/>
                    </a:lnTo>
                    <a:lnTo>
                      <a:pt x="939" y="756"/>
                    </a:lnTo>
                    <a:lnTo>
                      <a:pt x="952" y="866"/>
                    </a:lnTo>
                    <a:lnTo>
                      <a:pt x="946" y="987"/>
                    </a:lnTo>
                    <a:lnTo>
                      <a:pt x="898" y="1068"/>
                    </a:lnTo>
                    <a:lnTo>
                      <a:pt x="973" y="1103"/>
                    </a:lnTo>
                    <a:lnTo>
                      <a:pt x="1048" y="1127"/>
                    </a:lnTo>
                    <a:lnTo>
                      <a:pt x="1188" y="1092"/>
                    </a:lnTo>
                    <a:lnTo>
                      <a:pt x="1341" y="960"/>
                    </a:lnTo>
                    <a:lnTo>
                      <a:pt x="1402" y="887"/>
                    </a:lnTo>
                    <a:lnTo>
                      <a:pt x="1443" y="768"/>
                    </a:lnTo>
                    <a:lnTo>
                      <a:pt x="1534" y="750"/>
                    </a:lnTo>
                    <a:lnTo>
                      <a:pt x="1669" y="836"/>
                    </a:lnTo>
                    <a:lnTo>
                      <a:pt x="1809" y="870"/>
                    </a:lnTo>
                    <a:lnTo>
                      <a:pt x="1942" y="870"/>
                    </a:lnTo>
                    <a:lnTo>
                      <a:pt x="2050" y="809"/>
                    </a:lnTo>
                    <a:lnTo>
                      <a:pt x="2088" y="710"/>
                    </a:lnTo>
                    <a:lnTo>
                      <a:pt x="2110" y="590"/>
                    </a:lnTo>
                    <a:lnTo>
                      <a:pt x="2236" y="576"/>
                    </a:lnTo>
                    <a:lnTo>
                      <a:pt x="2344" y="510"/>
                    </a:lnTo>
                    <a:lnTo>
                      <a:pt x="2358" y="423"/>
                    </a:lnTo>
                    <a:lnTo>
                      <a:pt x="2388" y="348"/>
                    </a:lnTo>
                    <a:lnTo>
                      <a:pt x="2473" y="308"/>
                    </a:lnTo>
                    <a:lnTo>
                      <a:pt x="2556" y="263"/>
                    </a:lnTo>
                    <a:lnTo>
                      <a:pt x="2620" y="173"/>
                    </a:lnTo>
                    <a:lnTo>
                      <a:pt x="2698" y="102"/>
                    </a:lnTo>
                    <a:lnTo>
                      <a:pt x="2847" y="95"/>
                    </a:lnTo>
                    <a:lnTo>
                      <a:pt x="2908" y="0"/>
                    </a:lnTo>
                    <a:lnTo>
                      <a:pt x="3043" y="0"/>
                    </a:lnTo>
                    <a:lnTo>
                      <a:pt x="3162" y="60"/>
                    </a:lnTo>
                    <a:lnTo>
                      <a:pt x="3258" y="54"/>
                    </a:lnTo>
                    <a:lnTo>
                      <a:pt x="3409" y="65"/>
                    </a:lnTo>
                    <a:lnTo>
                      <a:pt x="3384" y="222"/>
                    </a:lnTo>
                    <a:lnTo>
                      <a:pt x="3409" y="377"/>
                    </a:lnTo>
                    <a:lnTo>
                      <a:pt x="3484" y="480"/>
                    </a:lnTo>
                    <a:lnTo>
                      <a:pt x="3511" y="590"/>
                    </a:lnTo>
                    <a:lnTo>
                      <a:pt x="3474" y="726"/>
                    </a:lnTo>
                    <a:lnTo>
                      <a:pt x="3473" y="886"/>
                    </a:lnTo>
                    <a:lnTo>
                      <a:pt x="3480" y="996"/>
                    </a:lnTo>
                    <a:lnTo>
                      <a:pt x="3460" y="1128"/>
                    </a:lnTo>
                    <a:lnTo>
                      <a:pt x="3511" y="1161"/>
                    </a:lnTo>
                    <a:lnTo>
                      <a:pt x="3555" y="1146"/>
                    </a:lnTo>
                    <a:lnTo>
                      <a:pt x="3658" y="1164"/>
                    </a:lnTo>
                    <a:lnTo>
                      <a:pt x="3622" y="1266"/>
                    </a:lnTo>
                    <a:lnTo>
                      <a:pt x="3586" y="1374"/>
                    </a:lnTo>
                    <a:lnTo>
                      <a:pt x="3532" y="1536"/>
                    </a:lnTo>
                    <a:lnTo>
                      <a:pt x="3394" y="1620"/>
                    </a:lnTo>
                    <a:lnTo>
                      <a:pt x="3190" y="1860"/>
                    </a:lnTo>
                    <a:lnTo>
                      <a:pt x="3022" y="2112"/>
                    </a:lnTo>
                    <a:lnTo>
                      <a:pt x="2866" y="2262"/>
                    </a:lnTo>
                    <a:lnTo>
                      <a:pt x="2758" y="2328"/>
                    </a:lnTo>
                    <a:lnTo>
                      <a:pt x="2662" y="2430"/>
                    </a:lnTo>
                    <a:lnTo>
                      <a:pt x="2500" y="2586"/>
                    </a:lnTo>
                    <a:lnTo>
                      <a:pt x="2398" y="2640"/>
                    </a:lnTo>
                    <a:lnTo>
                      <a:pt x="2260" y="2718"/>
                    </a:lnTo>
                    <a:lnTo>
                      <a:pt x="2176" y="2730"/>
                    </a:lnTo>
                    <a:lnTo>
                      <a:pt x="2086" y="2724"/>
                    </a:lnTo>
                    <a:lnTo>
                      <a:pt x="1960" y="2802"/>
                    </a:lnTo>
                    <a:lnTo>
                      <a:pt x="1846" y="2796"/>
                    </a:lnTo>
                    <a:lnTo>
                      <a:pt x="1786" y="2862"/>
                    </a:lnTo>
                    <a:lnTo>
                      <a:pt x="1660" y="2832"/>
                    </a:lnTo>
                    <a:lnTo>
                      <a:pt x="1540" y="2778"/>
                    </a:lnTo>
                    <a:lnTo>
                      <a:pt x="1450" y="2832"/>
                    </a:lnTo>
                    <a:lnTo>
                      <a:pt x="1366" y="2808"/>
                    </a:lnTo>
                    <a:lnTo>
                      <a:pt x="1282" y="2814"/>
                    </a:lnTo>
                    <a:lnTo>
                      <a:pt x="1162" y="2892"/>
                    </a:lnTo>
                    <a:lnTo>
                      <a:pt x="1066" y="2892"/>
                    </a:lnTo>
                    <a:lnTo>
                      <a:pt x="910" y="2898"/>
                    </a:lnTo>
                    <a:lnTo>
                      <a:pt x="766" y="2988"/>
                    </a:lnTo>
                    <a:lnTo>
                      <a:pt x="706" y="2976"/>
                    </a:lnTo>
                    <a:lnTo>
                      <a:pt x="622" y="2886"/>
                    </a:lnTo>
                    <a:lnTo>
                      <a:pt x="568" y="2868"/>
                    </a:lnTo>
                    <a:lnTo>
                      <a:pt x="472" y="2844"/>
                    </a:lnTo>
                    <a:lnTo>
                      <a:pt x="418" y="2802"/>
                    </a:lnTo>
                    <a:lnTo>
                      <a:pt x="430" y="2724"/>
                    </a:lnTo>
                    <a:lnTo>
                      <a:pt x="406" y="2646"/>
                    </a:lnTo>
                    <a:lnTo>
                      <a:pt x="334" y="2580"/>
                    </a:lnTo>
                    <a:lnTo>
                      <a:pt x="334" y="2502"/>
                    </a:lnTo>
                    <a:lnTo>
                      <a:pt x="424" y="2484"/>
                    </a:lnTo>
                    <a:lnTo>
                      <a:pt x="436" y="2382"/>
                    </a:lnTo>
                    <a:lnTo>
                      <a:pt x="400" y="2280"/>
                    </a:lnTo>
                    <a:lnTo>
                      <a:pt x="292" y="2142"/>
                    </a:lnTo>
                    <a:lnTo>
                      <a:pt x="238" y="2028"/>
                    </a:lnTo>
                    <a:lnTo>
                      <a:pt x="160" y="1932"/>
                    </a:lnTo>
                    <a:lnTo>
                      <a:pt x="148" y="1824"/>
                    </a:lnTo>
                    <a:lnTo>
                      <a:pt x="88" y="1662"/>
                    </a:lnTo>
                    <a:lnTo>
                      <a:pt x="0" y="1548"/>
                    </a:lnTo>
                    <a:close/>
                  </a:path>
                </a:pathLst>
              </a:custGeom>
              <a:solidFill>
                <a:srgbClr val="0069B3"/>
              </a:solidFill>
              <a:ln w="190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3" name="Freeform 130">
                <a:extLst>
                  <a:ext uri="{FF2B5EF4-FFF2-40B4-BE49-F238E27FC236}">
                    <a16:creationId xmlns:a16="http://schemas.microsoft.com/office/drawing/2014/main" id="{361D58D6-5FC9-4B79-A7A6-9FA939635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0375" y="4495597"/>
                <a:ext cx="423553" cy="746135"/>
              </a:xfrm>
              <a:custGeom>
                <a:avLst/>
                <a:gdLst/>
                <a:ahLst/>
                <a:cxnLst>
                  <a:cxn ang="0">
                    <a:pos x="1552" y="128"/>
                  </a:cxn>
                  <a:cxn ang="0">
                    <a:pos x="1544" y="280"/>
                  </a:cxn>
                  <a:cxn ang="0">
                    <a:pos x="1480" y="360"/>
                  </a:cxn>
                  <a:cxn ang="0">
                    <a:pos x="1408" y="400"/>
                  </a:cxn>
                  <a:cxn ang="0">
                    <a:pos x="1320" y="376"/>
                  </a:cxn>
                  <a:cxn ang="0">
                    <a:pos x="1280" y="440"/>
                  </a:cxn>
                  <a:cxn ang="0">
                    <a:pos x="1336" y="560"/>
                  </a:cxn>
                  <a:cxn ang="0">
                    <a:pos x="1224" y="592"/>
                  </a:cxn>
                  <a:cxn ang="0">
                    <a:pos x="1256" y="688"/>
                  </a:cxn>
                  <a:cxn ang="0">
                    <a:pos x="1152" y="760"/>
                  </a:cxn>
                  <a:cxn ang="0">
                    <a:pos x="1096" y="728"/>
                  </a:cxn>
                  <a:cxn ang="0">
                    <a:pos x="1013" y="814"/>
                  </a:cxn>
                  <a:cxn ang="0">
                    <a:pos x="776" y="936"/>
                  </a:cxn>
                  <a:cxn ang="0">
                    <a:pos x="632" y="976"/>
                  </a:cxn>
                  <a:cxn ang="0">
                    <a:pos x="576" y="1000"/>
                  </a:cxn>
                  <a:cxn ang="0">
                    <a:pos x="489" y="997"/>
                  </a:cxn>
                  <a:cxn ang="0">
                    <a:pos x="424" y="1152"/>
                  </a:cxn>
                  <a:cxn ang="0">
                    <a:pos x="296" y="1336"/>
                  </a:cxn>
                  <a:cxn ang="0">
                    <a:pos x="288" y="1536"/>
                  </a:cxn>
                  <a:cxn ang="0">
                    <a:pos x="336" y="1640"/>
                  </a:cxn>
                  <a:cxn ang="0">
                    <a:pos x="368" y="1808"/>
                  </a:cxn>
                  <a:cxn ang="0">
                    <a:pos x="351" y="1943"/>
                  </a:cxn>
                  <a:cxn ang="0">
                    <a:pos x="232" y="2144"/>
                  </a:cxn>
                  <a:cxn ang="0">
                    <a:pos x="120" y="2280"/>
                  </a:cxn>
                  <a:cxn ang="0">
                    <a:pos x="32" y="2408"/>
                  </a:cxn>
                  <a:cxn ang="0">
                    <a:pos x="0" y="2600"/>
                  </a:cxn>
                  <a:cxn ang="0">
                    <a:pos x="88" y="2760"/>
                  </a:cxn>
                  <a:cxn ang="0">
                    <a:pos x="64" y="2880"/>
                  </a:cxn>
                  <a:cxn ang="0">
                    <a:pos x="48" y="3008"/>
                  </a:cxn>
                  <a:cxn ang="0">
                    <a:pos x="96" y="3088"/>
                  </a:cxn>
                  <a:cxn ang="0">
                    <a:pos x="112" y="3184"/>
                  </a:cxn>
                  <a:cxn ang="0">
                    <a:pos x="256" y="3240"/>
                  </a:cxn>
                  <a:cxn ang="0">
                    <a:pos x="344" y="3328"/>
                  </a:cxn>
                  <a:cxn ang="0">
                    <a:pos x="504" y="3264"/>
                  </a:cxn>
                  <a:cxn ang="0">
                    <a:pos x="654" y="3225"/>
                  </a:cxn>
                  <a:cxn ang="0">
                    <a:pos x="792" y="3184"/>
                  </a:cxn>
                  <a:cxn ang="0">
                    <a:pos x="848" y="3040"/>
                  </a:cxn>
                  <a:cxn ang="0">
                    <a:pos x="952" y="2904"/>
                  </a:cxn>
                  <a:cxn ang="0">
                    <a:pos x="1068" y="2523"/>
                  </a:cxn>
                  <a:cxn ang="0">
                    <a:pos x="1272" y="2088"/>
                  </a:cxn>
                  <a:cxn ang="0">
                    <a:pos x="1416" y="1800"/>
                  </a:cxn>
                  <a:cxn ang="0">
                    <a:pos x="1536" y="1568"/>
                  </a:cxn>
                  <a:cxn ang="0">
                    <a:pos x="1544" y="1368"/>
                  </a:cxn>
                  <a:cxn ang="0">
                    <a:pos x="1584" y="1280"/>
                  </a:cxn>
                  <a:cxn ang="0">
                    <a:pos x="1656" y="1168"/>
                  </a:cxn>
                  <a:cxn ang="0">
                    <a:pos x="1688" y="1096"/>
                  </a:cxn>
                  <a:cxn ang="0">
                    <a:pos x="1620" y="967"/>
                  </a:cxn>
                  <a:cxn ang="0">
                    <a:pos x="1632" y="896"/>
                  </a:cxn>
                  <a:cxn ang="0">
                    <a:pos x="1704" y="864"/>
                  </a:cxn>
                  <a:cxn ang="0">
                    <a:pos x="1736" y="936"/>
                  </a:cxn>
                  <a:cxn ang="0">
                    <a:pos x="1760" y="984"/>
                  </a:cxn>
                  <a:cxn ang="0">
                    <a:pos x="1824" y="928"/>
                  </a:cxn>
                  <a:cxn ang="0">
                    <a:pos x="1864" y="840"/>
                  </a:cxn>
                  <a:cxn ang="0">
                    <a:pos x="1808" y="736"/>
                  </a:cxn>
                  <a:cxn ang="0">
                    <a:pos x="1808" y="568"/>
                  </a:cxn>
                  <a:cxn ang="0">
                    <a:pos x="1784" y="272"/>
                  </a:cxn>
                  <a:cxn ang="0">
                    <a:pos x="1712" y="144"/>
                  </a:cxn>
                  <a:cxn ang="0">
                    <a:pos x="1672" y="0"/>
                  </a:cxn>
                  <a:cxn ang="0">
                    <a:pos x="1600" y="48"/>
                  </a:cxn>
                  <a:cxn ang="0">
                    <a:pos x="1552" y="128"/>
                  </a:cxn>
                </a:cxnLst>
                <a:rect l="0" t="0" r="r" b="b"/>
                <a:pathLst>
                  <a:path w="1864" h="3328">
                    <a:moveTo>
                      <a:pt x="1552" y="128"/>
                    </a:moveTo>
                    <a:lnTo>
                      <a:pt x="1544" y="280"/>
                    </a:lnTo>
                    <a:lnTo>
                      <a:pt x="1480" y="360"/>
                    </a:lnTo>
                    <a:lnTo>
                      <a:pt x="1408" y="400"/>
                    </a:lnTo>
                    <a:lnTo>
                      <a:pt x="1320" y="376"/>
                    </a:lnTo>
                    <a:lnTo>
                      <a:pt x="1280" y="440"/>
                    </a:lnTo>
                    <a:lnTo>
                      <a:pt x="1336" y="560"/>
                    </a:lnTo>
                    <a:lnTo>
                      <a:pt x="1224" y="592"/>
                    </a:lnTo>
                    <a:lnTo>
                      <a:pt x="1256" y="688"/>
                    </a:lnTo>
                    <a:lnTo>
                      <a:pt x="1152" y="760"/>
                    </a:lnTo>
                    <a:lnTo>
                      <a:pt x="1096" y="728"/>
                    </a:lnTo>
                    <a:lnTo>
                      <a:pt x="1013" y="814"/>
                    </a:lnTo>
                    <a:lnTo>
                      <a:pt x="776" y="936"/>
                    </a:lnTo>
                    <a:lnTo>
                      <a:pt x="632" y="976"/>
                    </a:lnTo>
                    <a:lnTo>
                      <a:pt x="576" y="1000"/>
                    </a:lnTo>
                    <a:lnTo>
                      <a:pt x="489" y="997"/>
                    </a:lnTo>
                    <a:lnTo>
                      <a:pt x="424" y="1152"/>
                    </a:lnTo>
                    <a:lnTo>
                      <a:pt x="296" y="1336"/>
                    </a:lnTo>
                    <a:lnTo>
                      <a:pt x="288" y="1536"/>
                    </a:lnTo>
                    <a:lnTo>
                      <a:pt x="336" y="1640"/>
                    </a:lnTo>
                    <a:lnTo>
                      <a:pt x="368" y="1808"/>
                    </a:lnTo>
                    <a:lnTo>
                      <a:pt x="351" y="1943"/>
                    </a:lnTo>
                    <a:lnTo>
                      <a:pt x="232" y="2144"/>
                    </a:lnTo>
                    <a:lnTo>
                      <a:pt x="120" y="2280"/>
                    </a:lnTo>
                    <a:lnTo>
                      <a:pt x="32" y="2408"/>
                    </a:lnTo>
                    <a:lnTo>
                      <a:pt x="0" y="2600"/>
                    </a:lnTo>
                    <a:lnTo>
                      <a:pt x="88" y="2760"/>
                    </a:lnTo>
                    <a:lnTo>
                      <a:pt x="64" y="2880"/>
                    </a:lnTo>
                    <a:lnTo>
                      <a:pt x="48" y="3008"/>
                    </a:lnTo>
                    <a:lnTo>
                      <a:pt x="96" y="3088"/>
                    </a:lnTo>
                    <a:lnTo>
                      <a:pt x="112" y="3184"/>
                    </a:lnTo>
                    <a:lnTo>
                      <a:pt x="256" y="3240"/>
                    </a:lnTo>
                    <a:lnTo>
                      <a:pt x="344" y="3328"/>
                    </a:lnTo>
                    <a:lnTo>
                      <a:pt x="504" y="3264"/>
                    </a:lnTo>
                    <a:lnTo>
                      <a:pt x="654" y="3225"/>
                    </a:lnTo>
                    <a:lnTo>
                      <a:pt x="792" y="3184"/>
                    </a:lnTo>
                    <a:lnTo>
                      <a:pt x="848" y="3040"/>
                    </a:lnTo>
                    <a:lnTo>
                      <a:pt x="952" y="2904"/>
                    </a:lnTo>
                    <a:lnTo>
                      <a:pt x="1068" y="2523"/>
                    </a:lnTo>
                    <a:lnTo>
                      <a:pt x="1272" y="2088"/>
                    </a:lnTo>
                    <a:lnTo>
                      <a:pt x="1416" y="1800"/>
                    </a:lnTo>
                    <a:lnTo>
                      <a:pt x="1536" y="1568"/>
                    </a:lnTo>
                    <a:lnTo>
                      <a:pt x="1544" y="1368"/>
                    </a:lnTo>
                    <a:lnTo>
                      <a:pt x="1584" y="1280"/>
                    </a:lnTo>
                    <a:lnTo>
                      <a:pt x="1656" y="1168"/>
                    </a:lnTo>
                    <a:lnTo>
                      <a:pt x="1688" y="1096"/>
                    </a:lnTo>
                    <a:lnTo>
                      <a:pt x="1620" y="967"/>
                    </a:lnTo>
                    <a:lnTo>
                      <a:pt x="1632" y="896"/>
                    </a:lnTo>
                    <a:lnTo>
                      <a:pt x="1704" y="864"/>
                    </a:lnTo>
                    <a:lnTo>
                      <a:pt x="1736" y="936"/>
                    </a:lnTo>
                    <a:lnTo>
                      <a:pt x="1760" y="984"/>
                    </a:lnTo>
                    <a:lnTo>
                      <a:pt x="1824" y="928"/>
                    </a:lnTo>
                    <a:lnTo>
                      <a:pt x="1864" y="840"/>
                    </a:lnTo>
                    <a:lnTo>
                      <a:pt x="1808" y="736"/>
                    </a:lnTo>
                    <a:lnTo>
                      <a:pt x="1808" y="568"/>
                    </a:lnTo>
                    <a:lnTo>
                      <a:pt x="1784" y="272"/>
                    </a:lnTo>
                    <a:lnTo>
                      <a:pt x="1712" y="144"/>
                    </a:lnTo>
                    <a:lnTo>
                      <a:pt x="1672" y="0"/>
                    </a:lnTo>
                    <a:lnTo>
                      <a:pt x="1600" y="48"/>
                    </a:lnTo>
                    <a:lnTo>
                      <a:pt x="1552" y="12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4" name="Freeform 131">
                <a:extLst>
                  <a:ext uri="{FF2B5EF4-FFF2-40B4-BE49-F238E27FC236}">
                    <a16:creationId xmlns:a16="http://schemas.microsoft.com/office/drawing/2014/main" id="{247BE03F-A7A0-4044-954F-C0C2F42C9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78" y="5225996"/>
                <a:ext cx="66877" cy="73433"/>
              </a:xfrm>
              <a:custGeom>
                <a:avLst/>
                <a:gdLst/>
                <a:ahLst/>
                <a:cxnLst>
                  <a:cxn ang="0">
                    <a:pos x="263" y="82"/>
                  </a:cxn>
                  <a:cxn ang="0">
                    <a:pos x="242" y="217"/>
                  </a:cxn>
                  <a:cxn ang="0">
                    <a:pos x="296" y="256"/>
                  </a:cxn>
                  <a:cxn ang="0">
                    <a:pos x="240" y="328"/>
                  </a:cxn>
                  <a:cxn ang="0">
                    <a:pos x="56" y="328"/>
                  </a:cxn>
                  <a:cxn ang="0">
                    <a:pos x="0" y="232"/>
                  </a:cxn>
                  <a:cxn ang="0">
                    <a:pos x="24" y="96"/>
                  </a:cxn>
                  <a:cxn ang="0">
                    <a:pos x="72" y="0"/>
                  </a:cxn>
                  <a:cxn ang="0">
                    <a:pos x="216" y="16"/>
                  </a:cxn>
                  <a:cxn ang="0">
                    <a:pos x="263" y="82"/>
                  </a:cxn>
                </a:cxnLst>
                <a:rect l="0" t="0" r="r" b="b"/>
                <a:pathLst>
                  <a:path w="296" h="328">
                    <a:moveTo>
                      <a:pt x="263" y="82"/>
                    </a:moveTo>
                    <a:lnTo>
                      <a:pt x="242" y="217"/>
                    </a:lnTo>
                    <a:lnTo>
                      <a:pt x="296" y="256"/>
                    </a:lnTo>
                    <a:lnTo>
                      <a:pt x="240" y="328"/>
                    </a:lnTo>
                    <a:lnTo>
                      <a:pt x="56" y="328"/>
                    </a:lnTo>
                    <a:lnTo>
                      <a:pt x="0" y="232"/>
                    </a:lnTo>
                    <a:lnTo>
                      <a:pt x="24" y="96"/>
                    </a:lnTo>
                    <a:lnTo>
                      <a:pt x="72" y="0"/>
                    </a:lnTo>
                    <a:lnTo>
                      <a:pt x="216" y="16"/>
                    </a:lnTo>
                    <a:lnTo>
                      <a:pt x="263" y="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5" name="Freeform 132">
                <a:extLst>
                  <a:ext uri="{FF2B5EF4-FFF2-40B4-BE49-F238E27FC236}">
                    <a16:creationId xmlns:a16="http://schemas.microsoft.com/office/drawing/2014/main" id="{814A21E9-CF78-48C6-A6ED-A82F674561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8025" y="5367617"/>
                <a:ext cx="125886" cy="112772"/>
              </a:xfrm>
              <a:custGeom>
                <a:avLst/>
                <a:gdLst/>
                <a:ahLst/>
                <a:cxnLst>
                  <a:cxn ang="0">
                    <a:pos x="432" y="344"/>
                  </a:cxn>
                  <a:cxn ang="0">
                    <a:pos x="288" y="408"/>
                  </a:cxn>
                  <a:cxn ang="0">
                    <a:pos x="168" y="504"/>
                  </a:cxn>
                  <a:cxn ang="0">
                    <a:pos x="96" y="456"/>
                  </a:cxn>
                  <a:cxn ang="0">
                    <a:pos x="56" y="360"/>
                  </a:cxn>
                  <a:cxn ang="0">
                    <a:pos x="0" y="304"/>
                  </a:cxn>
                  <a:cxn ang="0">
                    <a:pos x="96" y="160"/>
                  </a:cxn>
                  <a:cxn ang="0">
                    <a:pos x="216" y="40"/>
                  </a:cxn>
                  <a:cxn ang="0">
                    <a:pos x="392" y="0"/>
                  </a:cxn>
                  <a:cxn ang="0">
                    <a:pos x="496" y="96"/>
                  </a:cxn>
                  <a:cxn ang="0">
                    <a:pos x="560" y="192"/>
                  </a:cxn>
                  <a:cxn ang="0">
                    <a:pos x="488" y="272"/>
                  </a:cxn>
                  <a:cxn ang="0">
                    <a:pos x="432" y="344"/>
                  </a:cxn>
                </a:cxnLst>
                <a:rect l="0" t="0" r="r" b="b"/>
                <a:pathLst>
                  <a:path w="560" h="504">
                    <a:moveTo>
                      <a:pt x="432" y="344"/>
                    </a:moveTo>
                    <a:lnTo>
                      <a:pt x="288" y="408"/>
                    </a:lnTo>
                    <a:lnTo>
                      <a:pt x="168" y="504"/>
                    </a:lnTo>
                    <a:lnTo>
                      <a:pt x="96" y="456"/>
                    </a:lnTo>
                    <a:lnTo>
                      <a:pt x="56" y="360"/>
                    </a:lnTo>
                    <a:lnTo>
                      <a:pt x="0" y="304"/>
                    </a:lnTo>
                    <a:lnTo>
                      <a:pt x="96" y="160"/>
                    </a:lnTo>
                    <a:lnTo>
                      <a:pt x="216" y="40"/>
                    </a:lnTo>
                    <a:lnTo>
                      <a:pt x="392" y="0"/>
                    </a:lnTo>
                    <a:lnTo>
                      <a:pt x="496" y="96"/>
                    </a:lnTo>
                    <a:lnTo>
                      <a:pt x="560" y="192"/>
                    </a:lnTo>
                    <a:lnTo>
                      <a:pt x="488" y="272"/>
                    </a:lnTo>
                    <a:lnTo>
                      <a:pt x="432" y="34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6" name="Freeform 133">
                <a:extLst>
                  <a:ext uri="{FF2B5EF4-FFF2-40B4-BE49-F238E27FC236}">
                    <a16:creationId xmlns:a16="http://schemas.microsoft.com/office/drawing/2014/main" id="{A76E001E-5B63-45C4-BECA-A1475FA5B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5525" y="3698322"/>
                <a:ext cx="306846" cy="335695"/>
              </a:xfrm>
              <a:custGeom>
                <a:avLst/>
                <a:gdLst/>
                <a:ahLst/>
                <a:cxnLst>
                  <a:cxn ang="0">
                    <a:pos x="1354" y="350"/>
                  </a:cxn>
                  <a:cxn ang="0">
                    <a:pos x="1302" y="258"/>
                  </a:cxn>
                  <a:cxn ang="0">
                    <a:pos x="1204" y="216"/>
                  </a:cxn>
                  <a:cxn ang="0">
                    <a:pos x="1100" y="262"/>
                  </a:cxn>
                  <a:cxn ang="0">
                    <a:pos x="1030" y="202"/>
                  </a:cxn>
                  <a:cxn ang="0">
                    <a:pos x="1020" y="128"/>
                  </a:cxn>
                  <a:cxn ang="0">
                    <a:pos x="1084" y="22"/>
                  </a:cxn>
                  <a:cxn ang="0">
                    <a:pos x="656" y="0"/>
                  </a:cxn>
                  <a:cxn ang="0">
                    <a:pos x="572" y="46"/>
                  </a:cxn>
                  <a:cxn ang="0">
                    <a:pos x="582" y="178"/>
                  </a:cxn>
                  <a:cxn ang="0">
                    <a:pos x="576" y="328"/>
                  </a:cxn>
                  <a:cxn ang="0">
                    <a:pos x="360" y="310"/>
                  </a:cxn>
                  <a:cxn ang="0">
                    <a:pos x="180" y="334"/>
                  </a:cxn>
                  <a:cxn ang="0">
                    <a:pos x="150" y="406"/>
                  </a:cxn>
                  <a:cxn ang="0">
                    <a:pos x="192" y="466"/>
                  </a:cxn>
                  <a:cxn ang="0">
                    <a:pos x="198" y="556"/>
                  </a:cxn>
                  <a:cxn ang="0">
                    <a:pos x="120" y="556"/>
                  </a:cxn>
                  <a:cxn ang="0">
                    <a:pos x="72" y="670"/>
                  </a:cxn>
                  <a:cxn ang="0">
                    <a:pos x="0" y="760"/>
                  </a:cxn>
                  <a:cxn ang="0">
                    <a:pos x="30" y="904"/>
                  </a:cxn>
                  <a:cxn ang="0">
                    <a:pos x="78" y="988"/>
                  </a:cxn>
                  <a:cxn ang="0">
                    <a:pos x="198" y="1156"/>
                  </a:cxn>
                  <a:cxn ang="0">
                    <a:pos x="300" y="1198"/>
                  </a:cxn>
                  <a:cxn ang="0">
                    <a:pos x="378" y="1300"/>
                  </a:cxn>
                  <a:cxn ang="0">
                    <a:pos x="414" y="1378"/>
                  </a:cxn>
                  <a:cxn ang="0">
                    <a:pos x="468" y="1450"/>
                  </a:cxn>
                  <a:cxn ang="0">
                    <a:pos x="536" y="1498"/>
                  </a:cxn>
                  <a:cxn ang="0">
                    <a:pos x="596" y="1434"/>
                  </a:cxn>
                  <a:cxn ang="0">
                    <a:pos x="690" y="1480"/>
                  </a:cxn>
                  <a:cxn ang="0">
                    <a:pos x="732" y="1402"/>
                  </a:cxn>
                  <a:cxn ang="0">
                    <a:pos x="674" y="1312"/>
                  </a:cxn>
                  <a:cxn ang="0">
                    <a:pos x="652" y="1138"/>
                  </a:cxn>
                  <a:cxn ang="0">
                    <a:pos x="786" y="1142"/>
                  </a:cxn>
                  <a:cxn ang="0">
                    <a:pos x="890" y="1128"/>
                  </a:cxn>
                  <a:cxn ang="0">
                    <a:pos x="846" y="1048"/>
                  </a:cxn>
                  <a:cxn ang="0">
                    <a:pos x="878" y="988"/>
                  </a:cxn>
                  <a:cxn ang="0">
                    <a:pos x="980" y="1026"/>
                  </a:cxn>
                  <a:cxn ang="0">
                    <a:pos x="1014" y="1120"/>
                  </a:cxn>
                  <a:cxn ang="0">
                    <a:pos x="1108" y="1176"/>
                  </a:cxn>
                  <a:cxn ang="0">
                    <a:pos x="1216" y="1158"/>
                  </a:cxn>
                  <a:cxn ang="0">
                    <a:pos x="1302" y="1126"/>
                  </a:cxn>
                  <a:cxn ang="0">
                    <a:pos x="1338" y="1018"/>
                  </a:cxn>
                  <a:cxn ang="0">
                    <a:pos x="1350" y="880"/>
                  </a:cxn>
                  <a:cxn ang="0">
                    <a:pos x="1338" y="716"/>
                  </a:cxn>
                  <a:cxn ang="0">
                    <a:pos x="1222" y="610"/>
                  </a:cxn>
                  <a:cxn ang="0">
                    <a:pos x="1204" y="504"/>
                  </a:cxn>
                  <a:cxn ang="0">
                    <a:pos x="1222" y="440"/>
                  </a:cxn>
                  <a:cxn ang="0">
                    <a:pos x="1318" y="432"/>
                  </a:cxn>
                  <a:cxn ang="0">
                    <a:pos x="1354" y="350"/>
                  </a:cxn>
                </a:cxnLst>
                <a:rect l="0" t="0" r="r" b="b"/>
                <a:pathLst>
                  <a:path w="1354" h="1498">
                    <a:moveTo>
                      <a:pt x="1354" y="350"/>
                    </a:moveTo>
                    <a:lnTo>
                      <a:pt x="1302" y="258"/>
                    </a:lnTo>
                    <a:lnTo>
                      <a:pt x="1204" y="216"/>
                    </a:lnTo>
                    <a:lnTo>
                      <a:pt x="1100" y="262"/>
                    </a:lnTo>
                    <a:lnTo>
                      <a:pt x="1030" y="202"/>
                    </a:lnTo>
                    <a:lnTo>
                      <a:pt x="1020" y="128"/>
                    </a:lnTo>
                    <a:lnTo>
                      <a:pt x="1084" y="22"/>
                    </a:lnTo>
                    <a:lnTo>
                      <a:pt x="656" y="0"/>
                    </a:lnTo>
                    <a:lnTo>
                      <a:pt x="572" y="46"/>
                    </a:lnTo>
                    <a:lnTo>
                      <a:pt x="582" y="178"/>
                    </a:lnTo>
                    <a:lnTo>
                      <a:pt x="576" y="328"/>
                    </a:lnTo>
                    <a:lnTo>
                      <a:pt x="360" y="310"/>
                    </a:lnTo>
                    <a:lnTo>
                      <a:pt x="180" y="334"/>
                    </a:lnTo>
                    <a:lnTo>
                      <a:pt x="150" y="406"/>
                    </a:lnTo>
                    <a:lnTo>
                      <a:pt x="192" y="466"/>
                    </a:lnTo>
                    <a:lnTo>
                      <a:pt x="198" y="556"/>
                    </a:lnTo>
                    <a:lnTo>
                      <a:pt x="120" y="556"/>
                    </a:lnTo>
                    <a:lnTo>
                      <a:pt x="72" y="670"/>
                    </a:lnTo>
                    <a:lnTo>
                      <a:pt x="0" y="760"/>
                    </a:lnTo>
                    <a:lnTo>
                      <a:pt x="30" y="904"/>
                    </a:lnTo>
                    <a:lnTo>
                      <a:pt x="78" y="988"/>
                    </a:lnTo>
                    <a:lnTo>
                      <a:pt x="198" y="1156"/>
                    </a:lnTo>
                    <a:lnTo>
                      <a:pt x="300" y="1198"/>
                    </a:lnTo>
                    <a:lnTo>
                      <a:pt x="378" y="1300"/>
                    </a:lnTo>
                    <a:lnTo>
                      <a:pt x="414" y="1378"/>
                    </a:lnTo>
                    <a:lnTo>
                      <a:pt x="468" y="1450"/>
                    </a:lnTo>
                    <a:lnTo>
                      <a:pt x="536" y="1498"/>
                    </a:lnTo>
                    <a:lnTo>
                      <a:pt x="596" y="1434"/>
                    </a:lnTo>
                    <a:lnTo>
                      <a:pt x="690" y="1480"/>
                    </a:lnTo>
                    <a:lnTo>
                      <a:pt x="732" y="1402"/>
                    </a:lnTo>
                    <a:lnTo>
                      <a:pt x="674" y="1312"/>
                    </a:lnTo>
                    <a:lnTo>
                      <a:pt x="652" y="1138"/>
                    </a:lnTo>
                    <a:lnTo>
                      <a:pt x="786" y="1142"/>
                    </a:lnTo>
                    <a:lnTo>
                      <a:pt x="890" y="1128"/>
                    </a:lnTo>
                    <a:lnTo>
                      <a:pt x="846" y="1048"/>
                    </a:lnTo>
                    <a:lnTo>
                      <a:pt x="878" y="988"/>
                    </a:lnTo>
                    <a:lnTo>
                      <a:pt x="980" y="1026"/>
                    </a:lnTo>
                    <a:lnTo>
                      <a:pt x="1014" y="1120"/>
                    </a:lnTo>
                    <a:lnTo>
                      <a:pt x="1108" y="1176"/>
                    </a:lnTo>
                    <a:lnTo>
                      <a:pt x="1216" y="1158"/>
                    </a:lnTo>
                    <a:lnTo>
                      <a:pt x="1302" y="1126"/>
                    </a:lnTo>
                    <a:lnTo>
                      <a:pt x="1338" y="1018"/>
                    </a:lnTo>
                    <a:lnTo>
                      <a:pt x="1350" y="880"/>
                    </a:lnTo>
                    <a:lnTo>
                      <a:pt x="1338" y="716"/>
                    </a:lnTo>
                    <a:lnTo>
                      <a:pt x="1222" y="610"/>
                    </a:lnTo>
                    <a:lnTo>
                      <a:pt x="1204" y="504"/>
                    </a:lnTo>
                    <a:lnTo>
                      <a:pt x="1222" y="440"/>
                    </a:lnTo>
                    <a:lnTo>
                      <a:pt x="1318" y="432"/>
                    </a:lnTo>
                    <a:lnTo>
                      <a:pt x="1354" y="35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7" name="Freeform 134">
                <a:extLst>
                  <a:ext uri="{FF2B5EF4-FFF2-40B4-BE49-F238E27FC236}">
                    <a16:creationId xmlns:a16="http://schemas.microsoft.com/office/drawing/2014/main" id="{D05EF817-09F9-480F-A46C-401E52895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9129" y="3700945"/>
                <a:ext cx="108839" cy="73433"/>
              </a:xfrm>
              <a:custGeom>
                <a:avLst/>
                <a:gdLst/>
                <a:ahLst/>
                <a:cxnLst>
                  <a:cxn ang="0">
                    <a:pos x="130" y="2"/>
                  </a:cxn>
                  <a:cxn ang="0">
                    <a:pos x="240" y="42"/>
                  </a:cxn>
                  <a:cxn ang="0">
                    <a:pos x="356" y="0"/>
                  </a:cxn>
                  <a:cxn ang="0">
                    <a:pos x="472" y="36"/>
                  </a:cxn>
                  <a:cxn ang="0">
                    <a:pos x="482" y="164"/>
                  </a:cxn>
                  <a:cxn ang="0">
                    <a:pos x="476" y="322"/>
                  </a:cxn>
                  <a:cxn ang="0">
                    <a:pos x="264" y="302"/>
                  </a:cxn>
                  <a:cxn ang="0">
                    <a:pos x="79" y="328"/>
                  </a:cxn>
                  <a:cxn ang="0">
                    <a:pos x="0" y="296"/>
                  </a:cxn>
                  <a:cxn ang="0">
                    <a:pos x="40" y="232"/>
                  </a:cxn>
                  <a:cxn ang="0">
                    <a:pos x="120" y="160"/>
                  </a:cxn>
                  <a:cxn ang="0">
                    <a:pos x="104" y="80"/>
                  </a:cxn>
                  <a:cxn ang="0">
                    <a:pos x="130" y="2"/>
                  </a:cxn>
                </a:cxnLst>
                <a:rect l="0" t="0" r="r" b="b"/>
                <a:pathLst>
                  <a:path w="482" h="328">
                    <a:moveTo>
                      <a:pt x="130" y="2"/>
                    </a:moveTo>
                    <a:lnTo>
                      <a:pt x="240" y="42"/>
                    </a:lnTo>
                    <a:lnTo>
                      <a:pt x="356" y="0"/>
                    </a:lnTo>
                    <a:lnTo>
                      <a:pt x="472" y="36"/>
                    </a:lnTo>
                    <a:lnTo>
                      <a:pt x="482" y="164"/>
                    </a:lnTo>
                    <a:lnTo>
                      <a:pt x="476" y="322"/>
                    </a:lnTo>
                    <a:lnTo>
                      <a:pt x="264" y="302"/>
                    </a:lnTo>
                    <a:lnTo>
                      <a:pt x="79" y="328"/>
                    </a:lnTo>
                    <a:lnTo>
                      <a:pt x="0" y="296"/>
                    </a:lnTo>
                    <a:lnTo>
                      <a:pt x="40" y="232"/>
                    </a:lnTo>
                    <a:lnTo>
                      <a:pt x="120" y="160"/>
                    </a:lnTo>
                    <a:lnTo>
                      <a:pt x="104" y="80"/>
                    </a:lnTo>
                    <a:lnTo>
                      <a:pt x="13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8" name="Freeform 135">
                <a:extLst>
                  <a:ext uri="{FF2B5EF4-FFF2-40B4-BE49-F238E27FC236}">
                    <a16:creationId xmlns:a16="http://schemas.microsoft.com/office/drawing/2014/main" id="{A93BC5BE-5335-44A0-89AD-02C338B0E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052" y="2994150"/>
                <a:ext cx="440600" cy="288488"/>
              </a:xfrm>
              <a:custGeom>
                <a:avLst/>
                <a:gdLst/>
                <a:ahLst/>
                <a:cxnLst>
                  <a:cxn ang="0">
                    <a:pos x="1475" y="38"/>
                  </a:cxn>
                  <a:cxn ang="0">
                    <a:pos x="1380" y="11"/>
                  </a:cxn>
                  <a:cxn ang="0">
                    <a:pos x="1254" y="0"/>
                  </a:cxn>
                  <a:cxn ang="0">
                    <a:pos x="1155" y="90"/>
                  </a:cxn>
                  <a:cxn ang="0">
                    <a:pos x="963" y="92"/>
                  </a:cxn>
                  <a:cxn ang="0">
                    <a:pos x="827" y="179"/>
                  </a:cxn>
                  <a:cxn ang="0">
                    <a:pos x="786" y="266"/>
                  </a:cxn>
                  <a:cxn ang="0">
                    <a:pos x="713" y="293"/>
                  </a:cxn>
                  <a:cxn ang="0">
                    <a:pos x="621" y="320"/>
                  </a:cxn>
                  <a:cxn ang="0">
                    <a:pos x="644" y="420"/>
                  </a:cxn>
                  <a:cxn ang="0">
                    <a:pos x="557" y="455"/>
                  </a:cxn>
                  <a:cxn ang="0">
                    <a:pos x="479" y="359"/>
                  </a:cxn>
                  <a:cxn ang="0">
                    <a:pos x="384" y="470"/>
                  </a:cxn>
                  <a:cxn ang="0">
                    <a:pos x="353" y="623"/>
                  </a:cxn>
                  <a:cxn ang="0">
                    <a:pos x="288" y="690"/>
                  </a:cxn>
                  <a:cxn ang="0">
                    <a:pos x="155" y="750"/>
                  </a:cxn>
                  <a:cxn ang="0">
                    <a:pos x="137" y="882"/>
                  </a:cxn>
                  <a:cxn ang="0">
                    <a:pos x="57" y="942"/>
                  </a:cxn>
                  <a:cxn ang="0">
                    <a:pos x="0" y="1113"/>
                  </a:cxn>
                  <a:cxn ang="0">
                    <a:pos x="203" y="1220"/>
                  </a:cxn>
                  <a:cxn ang="0">
                    <a:pos x="342" y="1289"/>
                  </a:cxn>
                  <a:cxn ang="0">
                    <a:pos x="566" y="1227"/>
                  </a:cxn>
                  <a:cxn ang="0">
                    <a:pos x="681" y="1283"/>
                  </a:cxn>
                  <a:cxn ang="0">
                    <a:pos x="644" y="1162"/>
                  </a:cxn>
                  <a:cxn ang="0">
                    <a:pos x="662" y="1006"/>
                  </a:cxn>
                  <a:cxn ang="0">
                    <a:pos x="836" y="986"/>
                  </a:cxn>
                  <a:cxn ang="0">
                    <a:pos x="1180" y="1026"/>
                  </a:cxn>
                  <a:cxn ang="0">
                    <a:pos x="1364" y="978"/>
                  </a:cxn>
                  <a:cxn ang="0">
                    <a:pos x="1372" y="1106"/>
                  </a:cxn>
                  <a:cxn ang="0">
                    <a:pos x="1460" y="1170"/>
                  </a:cxn>
                  <a:cxn ang="0">
                    <a:pos x="1556" y="1136"/>
                  </a:cxn>
                  <a:cxn ang="0">
                    <a:pos x="1586" y="1058"/>
                  </a:cxn>
                  <a:cxn ang="0">
                    <a:pos x="1700" y="942"/>
                  </a:cxn>
                  <a:cxn ang="0">
                    <a:pos x="1871" y="944"/>
                  </a:cxn>
                  <a:cxn ang="0">
                    <a:pos x="1934" y="818"/>
                  </a:cxn>
                  <a:cxn ang="0">
                    <a:pos x="1929" y="717"/>
                  </a:cxn>
                  <a:cxn ang="0">
                    <a:pos x="1871" y="717"/>
                  </a:cxn>
                  <a:cxn ang="0">
                    <a:pos x="1928" y="602"/>
                  </a:cxn>
                  <a:cxn ang="0">
                    <a:pos x="1760" y="603"/>
                  </a:cxn>
                  <a:cxn ang="0">
                    <a:pos x="1587" y="488"/>
                  </a:cxn>
                  <a:cxn ang="0">
                    <a:pos x="1700" y="434"/>
                  </a:cxn>
                  <a:cxn ang="0">
                    <a:pos x="1529" y="317"/>
                  </a:cxn>
                  <a:cxn ang="0">
                    <a:pos x="1473" y="149"/>
                  </a:cxn>
                  <a:cxn ang="0">
                    <a:pos x="1475" y="38"/>
                  </a:cxn>
                </a:cxnLst>
                <a:rect l="0" t="0" r="r" b="b"/>
                <a:pathLst>
                  <a:path w="1934" h="1289">
                    <a:moveTo>
                      <a:pt x="1475" y="38"/>
                    </a:moveTo>
                    <a:lnTo>
                      <a:pt x="1380" y="11"/>
                    </a:lnTo>
                    <a:lnTo>
                      <a:pt x="1254" y="0"/>
                    </a:lnTo>
                    <a:lnTo>
                      <a:pt x="1155" y="90"/>
                    </a:lnTo>
                    <a:lnTo>
                      <a:pt x="963" y="92"/>
                    </a:lnTo>
                    <a:lnTo>
                      <a:pt x="827" y="179"/>
                    </a:lnTo>
                    <a:lnTo>
                      <a:pt x="786" y="266"/>
                    </a:lnTo>
                    <a:lnTo>
                      <a:pt x="713" y="293"/>
                    </a:lnTo>
                    <a:lnTo>
                      <a:pt x="621" y="320"/>
                    </a:lnTo>
                    <a:lnTo>
                      <a:pt x="644" y="420"/>
                    </a:lnTo>
                    <a:lnTo>
                      <a:pt x="557" y="455"/>
                    </a:lnTo>
                    <a:lnTo>
                      <a:pt x="479" y="359"/>
                    </a:lnTo>
                    <a:lnTo>
                      <a:pt x="384" y="470"/>
                    </a:lnTo>
                    <a:lnTo>
                      <a:pt x="353" y="623"/>
                    </a:lnTo>
                    <a:lnTo>
                      <a:pt x="288" y="690"/>
                    </a:lnTo>
                    <a:lnTo>
                      <a:pt x="155" y="750"/>
                    </a:lnTo>
                    <a:lnTo>
                      <a:pt x="137" y="882"/>
                    </a:lnTo>
                    <a:lnTo>
                      <a:pt x="57" y="942"/>
                    </a:lnTo>
                    <a:lnTo>
                      <a:pt x="0" y="1113"/>
                    </a:lnTo>
                    <a:lnTo>
                      <a:pt x="203" y="1220"/>
                    </a:lnTo>
                    <a:lnTo>
                      <a:pt x="342" y="1289"/>
                    </a:lnTo>
                    <a:lnTo>
                      <a:pt x="566" y="1227"/>
                    </a:lnTo>
                    <a:lnTo>
                      <a:pt x="681" y="1283"/>
                    </a:lnTo>
                    <a:lnTo>
                      <a:pt x="644" y="1162"/>
                    </a:lnTo>
                    <a:lnTo>
                      <a:pt x="662" y="1006"/>
                    </a:lnTo>
                    <a:lnTo>
                      <a:pt x="836" y="986"/>
                    </a:lnTo>
                    <a:lnTo>
                      <a:pt x="1180" y="1026"/>
                    </a:lnTo>
                    <a:lnTo>
                      <a:pt x="1364" y="978"/>
                    </a:lnTo>
                    <a:lnTo>
                      <a:pt x="1372" y="1106"/>
                    </a:lnTo>
                    <a:lnTo>
                      <a:pt x="1460" y="1170"/>
                    </a:lnTo>
                    <a:lnTo>
                      <a:pt x="1556" y="1136"/>
                    </a:lnTo>
                    <a:lnTo>
                      <a:pt x="1586" y="1058"/>
                    </a:lnTo>
                    <a:lnTo>
                      <a:pt x="1700" y="942"/>
                    </a:lnTo>
                    <a:lnTo>
                      <a:pt x="1871" y="944"/>
                    </a:lnTo>
                    <a:lnTo>
                      <a:pt x="1934" y="818"/>
                    </a:lnTo>
                    <a:lnTo>
                      <a:pt x="1929" y="717"/>
                    </a:lnTo>
                    <a:lnTo>
                      <a:pt x="1871" y="717"/>
                    </a:lnTo>
                    <a:lnTo>
                      <a:pt x="1928" y="602"/>
                    </a:lnTo>
                    <a:lnTo>
                      <a:pt x="1760" y="603"/>
                    </a:lnTo>
                    <a:lnTo>
                      <a:pt x="1587" y="488"/>
                    </a:lnTo>
                    <a:lnTo>
                      <a:pt x="1700" y="434"/>
                    </a:lnTo>
                    <a:lnTo>
                      <a:pt x="1529" y="317"/>
                    </a:lnTo>
                    <a:lnTo>
                      <a:pt x="1473" y="149"/>
                    </a:lnTo>
                    <a:lnTo>
                      <a:pt x="1475" y="3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9" name="Freeform 136">
                <a:extLst>
                  <a:ext uri="{FF2B5EF4-FFF2-40B4-BE49-F238E27FC236}">
                    <a16:creationId xmlns:a16="http://schemas.microsoft.com/office/drawing/2014/main" id="{BCF6028A-5FFE-4501-A41C-5B4890CAD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2494" y="3213138"/>
                <a:ext cx="212432" cy="342252"/>
              </a:xfrm>
              <a:custGeom>
                <a:avLst/>
                <a:gdLst/>
                <a:ahLst/>
                <a:cxnLst>
                  <a:cxn ang="0">
                    <a:pos x="601" y="48"/>
                  </a:cxn>
                  <a:cxn ang="0">
                    <a:pos x="259" y="8"/>
                  </a:cxn>
                  <a:cxn ang="0">
                    <a:pos x="82" y="27"/>
                  </a:cxn>
                  <a:cxn ang="0">
                    <a:pos x="63" y="182"/>
                  </a:cxn>
                  <a:cxn ang="0">
                    <a:pos x="99" y="306"/>
                  </a:cxn>
                  <a:cxn ang="0">
                    <a:pos x="148" y="540"/>
                  </a:cxn>
                  <a:cxn ang="0">
                    <a:pos x="100" y="756"/>
                  </a:cxn>
                  <a:cxn ang="0">
                    <a:pos x="0" y="1010"/>
                  </a:cxn>
                  <a:cxn ang="0">
                    <a:pos x="28" y="1251"/>
                  </a:cxn>
                  <a:cxn ang="0">
                    <a:pos x="99" y="1430"/>
                  </a:cxn>
                  <a:cxn ang="0">
                    <a:pos x="132" y="1478"/>
                  </a:cxn>
                  <a:cxn ang="0">
                    <a:pos x="213" y="1517"/>
                  </a:cxn>
                  <a:cxn ang="0">
                    <a:pos x="286" y="1530"/>
                  </a:cxn>
                  <a:cxn ang="0">
                    <a:pos x="425" y="1435"/>
                  </a:cxn>
                  <a:cxn ang="0">
                    <a:pos x="569" y="1411"/>
                  </a:cxn>
                  <a:cxn ang="0">
                    <a:pos x="705" y="1318"/>
                  </a:cxn>
                  <a:cxn ang="0">
                    <a:pos x="828" y="1277"/>
                  </a:cxn>
                  <a:cxn ang="0">
                    <a:pos x="924" y="1238"/>
                  </a:cxn>
                  <a:cxn ang="0">
                    <a:pos x="933" y="1162"/>
                  </a:cxn>
                  <a:cxn ang="0">
                    <a:pos x="876" y="1066"/>
                  </a:cxn>
                  <a:cxn ang="0">
                    <a:pos x="905" y="970"/>
                  </a:cxn>
                  <a:cxn ang="0">
                    <a:pos x="909" y="907"/>
                  </a:cxn>
                  <a:cxn ang="0">
                    <a:pos x="866" y="850"/>
                  </a:cxn>
                  <a:cxn ang="0">
                    <a:pos x="885" y="744"/>
                  </a:cxn>
                  <a:cxn ang="0">
                    <a:pos x="933" y="682"/>
                  </a:cxn>
                  <a:cxn ang="0">
                    <a:pos x="905" y="643"/>
                  </a:cxn>
                  <a:cxn ang="0">
                    <a:pos x="837" y="590"/>
                  </a:cxn>
                  <a:cxn ang="0">
                    <a:pos x="929" y="552"/>
                  </a:cxn>
                  <a:cxn ang="0">
                    <a:pos x="909" y="480"/>
                  </a:cxn>
                  <a:cxn ang="0">
                    <a:pos x="905" y="394"/>
                  </a:cxn>
                  <a:cxn ang="0">
                    <a:pos x="857" y="350"/>
                  </a:cxn>
                  <a:cxn ang="0">
                    <a:pos x="879" y="191"/>
                  </a:cxn>
                  <a:cxn ang="0">
                    <a:pos x="790" y="125"/>
                  </a:cxn>
                  <a:cxn ang="0">
                    <a:pos x="783" y="0"/>
                  </a:cxn>
                  <a:cxn ang="0">
                    <a:pos x="601" y="48"/>
                  </a:cxn>
                </a:cxnLst>
                <a:rect l="0" t="0" r="r" b="b"/>
                <a:pathLst>
                  <a:path w="933" h="1530">
                    <a:moveTo>
                      <a:pt x="601" y="48"/>
                    </a:moveTo>
                    <a:lnTo>
                      <a:pt x="259" y="8"/>
                    </a:lnTo>
                    <a:lnTo>
                      <a:pt x="82" y="27"/>
                    </a:lnTo>
                    <a:lnTo>
                      <a:pt x="63" y="182"/>
                    </a:lnTo>
                    <a:lnTo>
                      <a:pt x="99" y="306"/>
                    </a:lnTo>
                    <a:lnTo>
                      <a:pt x="148" y="540"/>
                    </a:lnTo>
                    <a:lnTo>
                      <a:pt x="100" y="756"/>
                    </a:lnTo>
                    <a:lnTo>
                      <a:pt x="0" y="1010"/>
                    </a:lnTo>
                    <a:lnTo>
                      <a:pt x="28" y="1251"/>
                    </a:lnTo>
                    <a:lnTo>
                      <a:pt x="99" y="1430"/>
                    </a:lnTo>
                    <a:lnTo>
                      <a:pt x="132" y="1478"/>
                    </a:lnTo>
                    <a:lnTo>
                      <a:pt x="213" y="1517"/>
                    </a:lnTo>
                    <a:lnTo>
                      <a:pt x="286" y="1530"/>
                    </a:lnTo>
                    <a:lnTo>
                      <a:pt x="425" y="1435"/>
                    </a:lnTo>
                    <a:lnTo>
                      <a:pt x="569" y="1411"/>
                    </a:lnTo>
                    <a:lnTo>
                      <a:pt x="705" y="1318"/>
                    </a:lnTo>
                    <a:lnTo>
                      <a:pt x="828" y="1277"/>
                    </a:lnTo>
                    <a:lnTo>
                      <a:pt x="924" y="1238"/>
                    </a:lnTo>
                    <a:lnTo>
                      <a:pt x="933" y="1162"/>
                    </a:lnTo>
                    <a:lnTo>
                      <a:pt x="876" y="1066"/>
                    </a:lnTo>
                    <a:lnTo>
                      <a:pt x="905" y="970"/>
                    </a:lnTo>
                    <a:lnTo>
                      <a:pt x="909" y="907"/>
                    </a:lnTo>
                    <a:lnTo>
                      <a:pt x="866" y="850"/>
                    </a:lnTo>
                    <a:lnTo>
                      <a:pt x="885" y="744"/>
                    </a:lnTo>
                    <a:lnTo>
                      <a:pt x="933" y="682"/>
                    </a:lnTo>
                    <a:lnTo>
                      <a:pt x="905" y="643"/>
                    </a:lnTo>
                    <a:lnTo>
                      <a:pt x="837" y="590"/>
                    </a:lnTo>
                    <a:lnTo>
                      <a:pt x="929" y="552"/>
                    </a:lnTo>
                    <a:lnTo>
                      <a:pt x="909" y="480"/>
                    </a:lnTo>
                    <a:lnTo>
                      <a:pt x="905" y="394"/>
                    </a:lnTo>
                    <a:lnTo>
                      <a:pt x="857" y="350"/>
                    </a:lnTo>
                    <a:lnTo>
                      <a:pt x="879" y="191"/>
                    </a:lnTo>
                    <a:lnTo>
                      <a:pt x="790" y="125"/>
                    </a:lnTo>
                    <a:lnTo>
                      <a:pt x="783" y="0"/>
                    </a:lnTo>
                    <a:lnTo>
                      <a:pt x="601" y="4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9" name="Freeform 137">
                <a:extLst>
                  <a:ext uri="{FF2B5EF4-FFF2-40B4-BE49-F238E27FC236}">
                    <a16:creationId xmlns:a16="http://schemas.microsoft.com/office/drawing/2014/main" id="{F7006B19-780B-4CE8-A24C-46B18A7FCB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1322" y="3248544"/>
                <a:ext cx="73433" cy="241281"/>
              </a:xfrm>
              <a:custGeom>
                <a:avLst/>
                <a:gdLst/>
                <a:ahLst/>
                <a:cxnLst>
                  <a:cxn ang="0">
                    <a:pos x="43" y="33"/>
                  </a:cxn>
                  <a:cxn ang="0">
                    <a:pos x="19" y="190"/>
                  </a:cxn>
                  <a:cxn ang="0">
                    <a:pos x="67" y="234"/>
                  </a:cxn>
                  <a:cxn ang="0">
                    <a:pos x="72" y="321"/>
                  </a:cxn>
                  <a:cxn ang="0">
                    <a:pos x="91" y="393"/>
                  </a:cxn>
                  <a:cxn ang="0">
                    <a:pos x="0" y="430"/>
                  </a:cxn>
                  <a:cxn ang="0">
                    <a:pos x="70" y="486"/>
                  </a:cxn>
                  <a:cxn ang="0">
                    <a:pos x="96" y="523"/>
                  </a:cxn>
                  <a:cxn ang="0">
                    <a:pos x="48" y="589"/>
                  </a:cxn>
                  <a:cxn ang="0">
                    <a:pos x="30" y="693"/>
                  </a:cxn>
                  <a:cxn ang="0">
                    <a:pos x="72" y="748"/>
                  </a:cxn>
                  <a:cxn ang="0">
                    <a:pos x="67" y="816"/>
                  </a:cxn>
                  <a:cxn ang="0">
                    <a:pos x="39" y="907"/>
                  </a:cxn>
                  <a:cxn ang="0">
                    <a:pos x="96" y="1006"/>
                  </a:cxn>
                  <a:cxn ang="0">
                    <a:pos x="88" y="1078"/>
                  </a:cxn>
                  <a:cxn ang="0">
                    <a:pos x="168" y="1066"/>
                  </a:cxn>
                  <a:cxn ang="0">
                    <a:pos x="260" y="1061"/>
                  </a:cxn>
                  <a:cxn ang="0">
                    <a:pos x="308" y="1032"/>
                  </a:cxn>
                  <a:cxn ang="0">
                    <a:pos x="312" y="991"/>
                  </a:cxn>
                  <a:cxn ang="0">
                    <a:pos x="288" y="873"/>
                  </a:cxn>
                  <a:cxn ang="0">
                    <a:pos x="313" y="343"/>
                  </a:cxn>
                  <a:cxn ang="0">
                    <a:pos x="256" y="234"/>
                  </a:cxn>
                  <a:cxn ang="0">
                    <a:pos x="256" y="130"/>
                  </a:cxn>
                  <a:cxn ang="0">
                    <a:pos x="138" y="0"/>
                  </a:cxn>
                  <a:cxn ang="0">
                    <a:pos x="43" y="33"/>
                  </a:cxn>
                </a:cxnLst>
                <a:rect l="0" t="0" r="r" b="b"/>
                <a:pathLst>
                  <a:path w="313" h="1078">
                    <a:moveTo>
                      <a:pt x="43" y="33"/>
                    </a:moveTo>
                    <a:lnTo>
                      <a:pt x="19" y="190"/>
                    </a:lnTo>
                    <a:lnTo>
                      <a:pt x="67" y="234"/>
                    </a:lnTo>
                    <a:lnTo>
                      <a:pt x="72" y="321"/>
                    </a:lnTo>
                    <a:lnTo>
                      <a:pt x="91" y="393"/>
                    </a:lnTo>
                    <a:lnTo>
                      <a:pt x="0" y="430"/>
                    </a:lnTo>
                    <a:lnTo>
                      <a:pt x="70" y="486"/>
                    </a:lnTo>
                    <a:lnTo>
                      <a:pt x="96" y="523"/>
                    </a:lnTo>
                    <a:lnTo>
                      <a:pt x="48" y="589"/>
                    </a:lnTo>
                    <a:lnTo>
                      <a:pt x="30" y="693"/>
                    </a:lnTo>
                    <a:lnTo>
                      <a:pt x="72" y="748"/>
                    </a:lnTo>
                    <a:lnTo>
                      <a:pt x="67" y="816"/>
                    </a:lnTo>
                    <a:lnTo>
                      <a:pt x="39" y="907"/>
                    </a:lnTo>
                    <a:lnTo>
                      <a:pt x="96" y="1006"/>
                    </a:lnTo>
                    <a:lnTo>
                      <a:pt x="88" y="1078"/>
                    </a:lnTo>
                    <a:lnTo>
                      <a:pt x="168" y="1066"/>
                    </a:lnTo>
                    <a:lnTo>
                      <a:pt x="260" y="1061"/>
                    </a:lnTo>
                    <a:lnTo>
                      <a:pt x="308" y="1032"/>
                    </a:lnTo>
                    <a:lnTo>
                      <a:pt x="312" y="991"/>
                    </a:lnTo>
                    <a:lnTo>
                      <a:pt x="288" y="873"/>
                    </a:lnTo>
                    <a:lnTo>
                      <a:pt x="313" y="343"/>
                    </a:lnTo>
                    <a:lnTo>
                      <a:pt x="256" y="234"/>
                    </a:lnTo>
                    <a:lnTo>
                      <a:pt x="256" y="130"/>
                    </a:lnTo>
                    <a:lnTo>
                      <a:pt x="138" y="0"/>
                    </a:lnTo>
                    <a:lnTo>
                      <a:pt x="43" y="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0" name="Freeform 138">
                <a:extLst>
                  <a:ext uri="{FF2B5EF4-FFF2-40B4-BE49-F238E27FC236}">
                    <a16:creationId xmlns:a16="http://schemas.microsoft.com/office/drawing/2014/main" id="{5731B8F5-76D2-4607-BF77-99AF41BF6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026" y="3342958"/>
                <a:ext cx="216366" cy="238658"/>
              </a:xfrm>
              <a:custGeom>
                <a:avLst/>
                <a:gdLst/>
                <a:ahLst/>
                <a:cxnLst>
                  <a:cxn ang="0">
                    <a:pos x="899" y="1067"/>
                  </a:cxn>
                  <a:cxn ang="0">
                    <a:pos x="909" y="875"/>
                  </a:cxn>
                  <a:cxn ang="0">
                    <a:pos x="957" y="744"/>
                  </a:cxn>
                  <a:cxn ang="0">
                    <a:pos x="668" y="545"/>
                  </a:cxn>
                  <a:cxn ang="0">
                    <a:pos x="758" y="432"/>
                  </a:cxn>
                  <a:cxn ang="0">
                    <a:pos x="720" y="285"/>
                  </a:cxn>
                  <a:cxn ang="0">
                    <a:pos x="660" y="288"/>
                  </a:cxn>
                  <a:cxn ang="0">
                    <a:pos x="582" y="330"/>
                  </a:cxn>
                  <a:cxn ang="0">
                    <a:pos x="540" y="294"/>
                  </a:cxn>
                  <a:cxn ang="0">
                    <a:pos x="510" y="234"/>
                  </a:cxn>
                  <a:cxn ang="0">
                    <a:pos x="510" y="144"/>
                  </a:cxn>
                  <a:cxn ang="0">
                    <a:pos x="510" y="102"/>
                  </a:cxn>
                  <a:cxn ang="0">
                    <a:pos x="474" y="36"/>
                  </a:cxn>
                  <a:cxn ang="0">
                    <a:pos x="426" y="0"/>
                  </a:cxn>
                  <a:cxn ang="0">
                    <a:pos x="336" y="42"/>
                  </a:cxn>
                  <a:cxn ang="0">
                    <a:pos x="264" y="90"/>
                  </a:cxn>
                  <a:cxn ang="0">
                    <a:pos x="222" y="144"/>
                  </a:cxn>
                  <a:cxn ang="0">
                    <a:pos x="228" y="222"/>
                  </a:cxn>
                  <a:cxn ang="0">
                    <a:pos x="144" y="246"/>
                  </a:cxn>
                  <a:cxn ang="0">
                    <a:pos x="84" y="318"/>
                  </a:cxn>
                  <a:cxn ang="0">
                    <a:pos x="0" y="390"/>
                  </a:cxn>
                  <a:cxn ang="0">
                    <a:pos x="36" y="480"/>
                  </a:cxn>
                  <a:cxn ang="0">
                    <a:pos x="126" y="498"/>
                  </a:cxn>
                  <a:cxn ang="0">
                    <a:pos x="192" y="540"/>
                  </a:cxn>
                  <a:cxn ang="0">
                    <a:pos x="288" y="648"/>
                  </a:cxn>
                  <a:cxn ang="0">
                    <a:pos x="354" y="672"/>
                  </a:cxn>
                  <a:cxn ang="0">
                    <a:pos x="414" y="762"/>
                  </a:cxn>
                  <a:cxn ang="0">
                    <a:pos x="474" y="852"/>
                  </a:cxn>
                  <a:cxn ang="0">
                    <a:pos x="552" y="906"/>
                  </a:cxn>
                  <a:cxn ang="0">
                    <a:pos x="604" y="919"/>
                  </a:cxn>
                  <a:cxn ang="0">
                    <a:pos x="672" y="972"/>
                  </a:cxn>
                  <a:cxn ang="0">
                    <a:pos x="756" y="1002"/>
                  </a:cxn>
                  <a:cxn ang="0">
                    <a:pos x="828" y="1026"/>
                  </a:cxn>
                  <a:cxn ang="0">
                    <a:pos x="899" y="1067"/>
                  </a:cxn>
                </a:cxnLst>
                <a:rect l="0" t="0" r="r" b="b"/>
                <a:pathLst>
                  <a:path w="957" h="1067">
                    <a:moveTo>
                      <a:pt x="899" y="1067"/>
                    </a:moveTo>
                    <a:lnTo>
                      <a:pt x="909" y="875"/>
                    </a:lnTo>
                    <a:lnTo>
                      <a:pt x="957" y="744"/>
                    </a:lnTo>
                    <a:lnTo>
                      <a:pt x="668" y="545"/>
                    </a:lnTo>
                    <a:lnTo>
                      <a:pt x="758" y="432"/>
                    </a:lnTo>
                    <a:lnTo>
                      <a:pt x="720" y="285"/>
                    </a:lnTo>
                    <a:lnTo>
                      <a:pt x="660" y="288"/>
                    </a:lnTo>
                    <a:lnTo>
                      <a:pt x="582" y="330"/>
                    </a:lnTo>
                    <a:lnTo>
                      <a:pt x="540" y="294"/>
                    </a:lnTo>
                    <a:lnTo>
                      <a:pt x="510" y="234"/>
                    </a:lnTo>
                    <a:lnTo>
                      <a:pt x="510" y="144"/>
                    </a:lnTo>
                    <a:lnTo>
                      <a:pt x="510" y="102"/>
                    </a:lnTo>
                    <a:lnTo>
                      <a:pt x="474" y="36"/>
                    </a:lnTo>
                    <a:lnTo>
                      <a:pt x="426" y="0"/>
                    </a:lnTo>
                    <a:lnTo>
                      <a:pt x="336" y="42"/>
                    </a:lnTo>
                    <a:lnTo>
                      <a:pt x="264" y="90"/>
                    </a:lnTo>
                    <a:lnTo>
                      <a:pt x="222" y="144"/>
                    </a:lnTo>
                    <a:lnTo>
                      <a:pt x="228" y="222"/>
                    </a:lnTo>
                    <a:lnTo>
                      <a:pt x="144" y="246"/>
                    </a:lnTo>
                    <a:lnTo>
                      <a:pt x="84" y="318"/>
                    </a:lnTo>
                    <a:lnTo>
                      <a:pt x="0" y="390"/>
                    </a:lnTo>
                    <a:lnTo>
                      <a:pt x="36" y="480"/>
                    </a:lnTo>
                    <a:lnTo>
                      <a:pt x="126" y="498"/>
                    </a:lnTo>
                    <a:lnTo>
                      <a:pt x="192" y="540"/>
                    </a:lnTo>
                    <a:lnTo>
                      <a:pt x="288" y="648"/>
                    </a:lnTo>
                    <a:lnTo>
                      <a:pt x="354" y="672"/>
                    </a:lnTo>
                    <a:lnTo>
                      <a:pt x="414" y="762"/>
                    </a:lnTo>
                    <a:lnTo>
                      <a:pt x="474" y="852"/>
                    </a:lnTo>
                    <a:lnTo>
                      <a:pt x="552" y="906"/>
                    </a:lnTo>
                    <a:lnTo>
                      <a:pt x="604" y="919"/>
                    </a:lnTo>
                    <a:lnTo>
                      <a:pt x="672" y="972"/>
                    </a:lnTo>
                    <a:lnTo>
                      <a:pt x="756" y="1002"/>
                    </a:lnTo>
                    <a:lnTo>
                      <a:pt x="828" y="1026"/>
                    </a:lnTo>
                    <a:lnTo>
                      <a:pt x="899" y="106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1" name="Freeform 139">
                <a:extLst>
                  <a:ext uri="{FF2B5EF4-FFF2-40B4-BE49-F238E27FC236}">
                    <a16:creationId xmlns:a16="http://schemas.microsoft.com/office/drawing/2014/main" id="{EBC4546F-CDD8-4014-868A-43C19EF31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792" y="3260345"/>
                <a:ext cx="140310" cy="170470"/>
              </a:xfrm>
              <a:custGeom>
                <a:avLst/>
                <a:gdLst/>
                <a:ahLst/>
                <a:cxnLst>
                  <a:cxn ang="0">
                    <a:pos x="88" y="305"/>
                  </a:cxn>
                  <a:cxn ang="0">
                    <a:pos x="38" y="209"/>
                  </a:cxn>
                  <a:cxn ang="0">
                    <a:pos x="113" y="192"/>
                  </a:cxn>
                  <a:cxn ang="0">
                    <a:pos x="175" y="65"/>
                  </a:cxn>
                  <a:cxn ang="0">
                    <a:pos x="329" y="8"/>
                  </a:cxn>
                  <a:cxn ang="0">
                    <a:pos x="457" y="0"/>
                  </a:cxn>
                  <a:cxn ang="0">
                    <a:pos x="523" y="48"/>
                  </a:cxn>
                  <a:cxn ang="0">
                    <a:pos x="583" y="155"/>
                  </a:cxn>
                  <a:cxn ang="0">
                    <a:pos x="616" y="294"/>
                  </a:cxn>
                  <a:cxn ang="0">
                    <a:pos x="584" y="390"/>
                  </a:cxn>
                  <a:cxn ang="0">
                    <a:pos x="598" y="513"/>
                  </a:cxn>
                  <a:cxn ang="0">
                    <a:pos x="601" y="591"/>
                  </a:cxn>
                  <a:cxn ang="0">
                    <a:pos x="520" y="614"/>
                  </a:cxn>
                  <a:cxn ang="0">
                    <a:pos x="457" y="687"/>
                  </a:cxn>
                  <a:cxn ang="0">
                    <a:pos x="376" y="759"/>
                  </a:cxn>
                  <a:cxn ang="0">
                    <a:pos x="320" y="761"/>
                  </a:cxn>
                  <a:cxn ang="0">
                    <a:pos x="256" y="705"/>
                  </a:cxn>
                  <a:cxn ang="0">
                    <a:pos x="176" y="625"/>
                  </a:cxn>
                  <a:cxn ang="0">
                    <a:pos x="80" y="553"/>
                  </a:cxn>
                  <a:cxn ang="0">
                    <a:pos x="40" y="465"/>
                  </a:cxn>
                  <a:cxn ang="0">
                    <a:pos x="0" y="369"/>
                  </a:cxn>
                  <a:cxn ang="0">
                    <a:pos x="88" y="305"/>
                  </a:cxn>
                </a:cxnLst>
                <a:rect l="0" t="0" r="r" b="b"/>
                <a:pathLst>
                  <a:path w="616" h="761">
                    <a:moveTo>
                      <a:pt x="88" y="305"/>
                    </a:moveTo>
                    <a:lnTo>
                      <a:pt x="38" y="209"/>
                    </a:lnTo>
                    <a:lnTo>
                      <a:pt x="113" y="192"/>
                    </a:lnTo>
                    <a:lnTo>
                      <a:pt x="175" y="65"/>
                    </a:lnTo>
                    <a:lnTo>
                      <a:pt x="329" y="8"/>
                    </a:lnTo>
                    <a:lnTo>
                      <a:pt x="457" y="0"/>
                    </a:lnTo>
                    <a:lnTo>
                      <a:pt x="523" y="48"/>
                    </a:lnTo>
                    <a:lnTo>
                      <a:pt x="583" y="155"/>
                    </a:lnTo>
                    <a:lnTo>
                      <a:pt x="616" y="294"/>
                    </a:lnTo>
                    <a:lnTo>
                      <a:pt x="584" y="390"/>
                    </a:lnTo>
                    <a:lnTo>
                      <a:pt x="598" y="513"/>
                    </a:lnTo>
                    <a:lnTo>
                      <a:pt x="601" y="591"/>
                    </a:lnTo>
                    <a:lnTo>
                      <a:pt x="520" y="614"/>
                    </a:lnTo>
                    <a:lnTo>
                      <a:pt x="457" y="687"/>
                    </a:lnTo>
                    <a:lnTo>
                      <a:pt x="376" y="759"/>
                    </a:lnTo>
                    <a:lnTo>
                      <a:pt x="320" y="761"/>
                    </a:lnTo>
                    <a:lnTo>
                      <a:pt x="256" y="705"/>
                    </a:lnTo>
                    <a:lnTo>
                      <a:pt x="176" y="625"/>
                    </a:lnTo>
                    <a:lnTo>
                      <a:pt x="80" y="553"/>
                    </a:lnTo>
                    <a:lnTo>
                      <a:pt x="40" y="465"/>
                    </a:lnTo>
                    <a:lnTo>
                      <a:pt x="0" y="369"/>
                    </a:lnTo>
                    <a:lnTo>
                      <a:pt x="88" y="3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2" name="Freeform 140">
                <a:extLst>
                  <a:ext uri="{FF2B5EF4-FFF2-40B4-BE49-F238E27FC236}">
                    <a16:creationId xmlns:a16="http://schemas.microsoft.com/office/drawing/2014/main" id="{9C51B5B9-2CD2-4B42-9DA4-1C547CDA0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462" y="2314893"/>
                <a:ext cx="646475" cy="674012"/>
              </a:xfrm>
              <a:custGeom>
                <a:avLst/>
                <a:gdLst/>
                <a:ahLst/>
                <a:cxnLst>
                  <a:cxn ang="0">
                    <a:pos x="76" y="1146"/>
                  </a:cxn>
                  <a:cxn ang="0">
                    <a:pos x="93" y="1282"/>
                  </a:cxn>
                  <a:cxn ang="0">
                    <a:pos x="172" y="1362"/>
                  </a:cxn>
                  <a:cxn ang="0">
                    <a:pos x="163" y="1453"/>
                  </a:cxn>
                  <a:cxn ang="0">
                    <a:pos x="76" y="1538"/>
                  </a:cxn>
                  <a:cxn ang="0">
                    <a:pos x="128" y="1657"/>
                  </a:cxn>
                  <a:cxn ang="0">
                    <a:pos x="124" y="1749"/>
                  </a:cxn>
                  <a:cxn ang="0">
                    <a:pos x="85" y="1939"/>
                  </a:cxn>
                  <a:cxn ang="0">
                    <a:pos x="0" y="2181"/>
                  </a:cxn>
                  <a:cxn ang="0">
                    <a:pos x="84" y="2186"/>
                  </a:cxn>
                  <a:cxn ang="0">
                    <a:pos x="99" y="2165"/>
                  </a:cxn>
                  <a:cxn ang="0">
                    <a:pos x="123" y="2171"/>
                  </a:cxn>
                  <a:cxn ang="0">
                    <a:pos x="146" y="2171"/>
                  </a:cxn>
                  <a:cxn ang="0">
                    <a:pos x="182" y="2147"/>
                  </a:cxn>
                  <a:cxn ang="0">
                    <a:pos x="230" y="2154"/>
                  </a:cxn>
                  <a:cxn ang="0">
                    <a:pos x="309" y="2154"/>
                  </a:cxn>
                  <a:cxn ang="0">
                    <a:pos x="332" y="2168"/>
                  </a:cxn>
                  <a:cxn ang="0">
                    <a:pos x="377" y="2199"/>
                  </a:cxn>
                  <a:cxn ang="0">
                    <a:pos x="410" y="2258"/>
                  </a:cxn>
                  <a:cxn ang="0">
                    <a:pos x="483" y="2264"/>
                  </a:cxn>
                  <a:cxn ang="0">
                    <a:pos x="510" y="2282"/>
                  </a:cxn>
                  <a:cxn ang="0">
                    <a:pos x="519" y="2327"/>
                  </a:cxn>
                  <a:cxn ang="0">
                    <a:pos x="545" y="2373"/>
                  </a:cxn>
                  <a:cxn ang="0">
                    <a:pos x="585" y="2405"/>
                  </a:cxn>
                  <a:cxn ang="0">
                    <a:pos x="603" y="2429"/>
                  </a:cxn>
                  <a:cxn ang="0">
                    <a:pos x="617" y="2460"/>
                  </a:cxn>
                  <a:cxn ang="0">
                    <a:pos x="653" y="2489"/>
                  </a:cxn>
                  <a:cxn ang="0">
                    <a:pos x="692" y="2498"/>
                  </a:cxn>
                  <a:cxn ang="0">
                    <a:pos x="699" y="2535"/>
                  </a:cxn>
                  <a:cxn ang="0">
                    <a:pos x="759" y="2570"/>
                  </a:cxn>
                  <a:cxn ang="0">
                    <a:pos x="851" y="2562"/>
                  </a:cxn>
                  <a:cxn ang="0">
                    <a:pos x="853" y="2481"/>
                  </a:cxn>
                  <a:cxn ang="0">
                    <a:pos x="892" y="2411"/>
                  </a:cxn>
                  <a:cxn ang="0">
                    <a:pos x="972" y="2430"/>
                  </a:cxn>
                  <a:cxn ang="0">
                    <a:pos x="1027" y="2516"/>
                  </a:cxn>
                  <a:cxn ang="0">
                    <a:pos x="1066" y="2457"/>
                  </a:cxn>
                  <a:cxn ang="0">
                    <a:pos x="1251" y="2481"/>
                  </a:cxn>
                  <a:cxn ang="0">
                    <a:pos x="1373" y="2456"/>
                  </a:cxn>
                  <a:cxn ang="0">
                    <a:pos x="2133" y="2475"/>
                  </a:cxn>
                  <a:cxn ang="0">
                    <a:pos x="2178" y="2318"/>
                  </a:cxn>
                  <a:cxn ang="0">
                    <a:pos x="2111" y="2226"/>
                  </a:cxn>
                  <a:cxn ang="0">
                    <a:pos x="2146" y="476"/>
                  </a:cxn>
                  <a:cxn ang="0">
                    <a:pos x="2463" y="490"/>
                  </a:cxn>
                  <a:cxn ang="0">
                    <a:pos x="1841" y="0"/>
                  </a:cxn>
                  <a:cxn ang="0">
                    <a:pos x="1790" y="250"/>
                  </a:cxn>
                  <a:cxn ang="0">
                    <a:pos x="1170" y="212"/>
                  </a:cxn>
                  <a:cxn ang="0">
                    <a:pos x="1056" y="734"/>
                  </a:cxn>
                  <a:cxn ang="0">
                    <a:pos x="810" y="879"/>
                  </a:cxn>
                  <a:cxn ang="0">
                    <a:pos x="810" y="1168"/>
                  </a:cxn>
                  <a:cxn ang="0">
                    <a:pos x="76" y="1146"/>
                  </a:cxn>
                </a:cxnLst>
                <a:rect l="0" t="0" r="r" b="b"/>
                <a:pathLst>
                  <a:path w="2463" h="2570">
                    <a:moveTo>
                      <a:pt x="76" y="1146"/>
                    </a:moveTo>
                    <a:lnTo>
                      <a:pt x="93" y="1282"/>
                    </a:lnTo>
                    <a:lnTo>
                      <a:pt x="172" y="1362"/>
                    </a:lnTo>
                    <a:lnTo>
                      <a:pt x="163" y="1453"/>
                    </a:lnTo>
                    <a:lnTo>
                      <a:pt x="76" y="1538"/>
                    </a:lnTo>
                    <a:lnTo>
                      <a:pt x="128" y="1657"/>
                    </a:lnTo>
                    <a:lnTo>
                      <a:pt x="124" y="1749"/>
                    </a:lnTo>
                    <a:lnTo>
                      <a:pt x="85" y="1939"/>
                    </a:lnTo>
                    <a:lnTo>
                      <a:pt x="0" y="2181"/>
                    </a:lnTo>
                    <a:lnTo>
                      <a:pt x="84" y="2186"/>
                    </a:lnTo>
                    <a:lnTo>
                      <a:pt x="99" y="2165"/>
                    </a:lnTo>
                    <a:lnTo>
                      <a:pt x="123" y="2171"/>
                    </a:lnTo>
                    <a:lnTo>
                      <a:pt x="146" y="2171"/>
                    </a:lnTo>
                    <a:lnTo>
                      <a:pt x="182" y="2147"/>
                    </a:lnTo>
                    <a:lnTo>
                      <a:pt x="230" y="2154"/>
                    </a:lnTo>
                    <a:lnTo>
                      <a:pt x="309" y="2154"/>
                    </a:lnTo>
                    <a:lnTo>
                      <a:pt x="332" y="2168"/>
                    </a:lnTo>
                    <a:lnTo>
                      <a:pt x="377" y="2199"/>
                    </a:lnTo>
                    <a:lnTo>
                      <a:pt x="410" y="2258"/>
                    </a:lnTo>
                    <a:lnTo>
                      <a:pt x="483" y="2264"/>
                    </a:lnTo>
                    <a:lnTo>
                      <a:pt x="510" y="2282"/>
                    </a:lnTo>
                    <a:lnTo>
                      <a:pt x="519" y="2327"/>
                    </a:lnTo>
                    <a:lnTo>
                      <a:pt x="545" y="2373"/>
                    </a:lnTo>
                    <a:lnTo>
                      <a:pt x="585" y="2405"/>
                    </a:lnTo>
                    <a:lnTo>
                      <a:pt x="603" y="2429"/>
                    </a:lnTo>
                    <a:lnTo>
                      <a:pt x="617" y="2460"/>
                    </a:lnTo>
                    <a:lnTo>
                      <a:pt x="653" y="2489"/>
                    </a:lnTo>
                    <a:lnTo>
                      <a:pt x="692" y="2498"/>
                    </a:lnTo>
                    <a:lnTo>
                      <a:pt x="699" y="2535"/>
                    </a:lnTo>
                    <a:lnTo>
                      <a:pt x="759" y="2570"/>
                    </a:lnTo>
                    <a:lnTo>
                      <a:pt x="851" y="2562"/>
                    </a:lnTo>
                    <a:lnTo>
                      <a:pt x="853" y="2481"/>
                    </a:lnTo>
                    <a:lnTo>
                      <a:pt x="892" y="2411"/>
                    </a:lnTo>
                    <a:lnTo>
                      <a:pt x="972" y="2430"/>
                    </a:lnTo>
                    <a:lnTo>
                      <a:pt x="1027" y="2516"/>
                    </a:lnTo>
                    <a:lnTo>
                      <a:pt x="1066" y="2457"/>
                    </a:lnTo>
                    <a:lnTo>
                      <a:pt x="1251" y="2481"/>
                    </a:lnTo>
                    <a:lnTo>
                      <a:pt x="1373" y="2456"/>
                    </a:lnTo>
                    <a:lnTo>
                      <a:pt x="2133" y="2475"/>
                    </a:lnTo>
                    <a:lnTo>
                      <a:pt x="2178" y="2318"/>
                    </a:lnTo>
                    <a:lnTo>
                      <a:pt x="2111" y="2226"/>
                    </a:lnTo>
                    <a:lnTo>
                      <a:pt x="2146" y="476"/>
                    </a:lnTo>
                    <a:lnTo>
                      <a:pt x="2463" y="490"/>
                    </a:lnTo>
                    <a:lnTo>
                      <a:pt x="1841" y="0"/>
                    </a:lnTo>
                    <a:lnTo>
                      <a:pt x="1790" y="250"/>
                    </a:lnTo>
                    <a:lnTo>
                      <a:pt x="1170" y="212"/>
                    </a:lnTo>
                    <a:lnTo>
                      <a:pt x="1056" y="734"/>
                    </a:lnTo>
                    <a:lnTo>
                      <a:pt x="810" y="879"/>
                    </a:lnTo>
                    <a:lnTo>
                      <a:pt x="810" y="1168"/>
                    </a:lnTo>
                    <a:lnTo>
                      <a:pt x="76" y="114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3" name="Freeform 141">
                <a:extLst>
                  <a:ext uri="{FF2B5EF4-FFF2-40B4-BE49-F238E27FC236}">
                    <a16:creationId xmlns:a16="http://schemas.microsoft.com/office/drawing/2014/main" id="{27F492EA-5EFA-4C67-B63A-4CCF682D8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792" y="3260345"/>
                <a:ext cx="140310" cy="170470"/>
              </a:xfrm>
              <a:custGeom>
                <a:avLst/>
                <a:gdLst/>
                <a:ahLst/>
                <a:cxnLst>
                  <a:cxn ang="0">
                    <a:pos x="88" y="305"/>
                  </a:cxn>
                  <a:cxn ang="0">
                    <a:pos x="38" y="209"/>
                  </a:cxn>
                  <a:cxn ang="0">
                    <a:pos x="113" y="192"/>
                  </a:cxn>
                  <a:cxn ang="0">
                    <a:pos x="175" y="65"/>
                  </a:cxn>
                  <a:cxn ang="0">
                    <a:pos x="329" y="8"/>
                  </a:cxn>
                  <a:cxn ang="0">
                    <a:pos x="457" y="0"/>
                  </a:cxn>
                  <a:cxn ang="0">
                    <a:pos x="523" y="48"/>
                  </a:cxn>
                  <a:cxn ang="0">
                    <a:pos x="583" y="155"/>
                  </a:cxn>
                  <a:cxn ang="0">
                    <a:pos x="616" y="294"/>
                  </a:cxn>
                  <a:cxn ang="0">
                    <a:pos x="584" y="390"/>
                  </a:cxn>
                  <a:cxn ang="0">
                    <a:pos x="598" y="513"/>
                  </a:cxn>
                  <a:cxn ang="0">
                    <a:pos x="601" y="591"/>
                  </a:cxn>
                  <a:cxn ang="0">
                    <a:pos x="520" y="614"/>
                  </a:cxn>
                  <a:cxn ang="0">
                    <a:pos x="457" y="687"/>
                  </a:cxn>
                  <a:cxn ang="0">
                    <a:pos x="376" y="759"/>
                  </a:cxn>
                  <a:cxn ang="0">
                    <a:pos x="320" y="761"/>
                  </a:cxn>
                  <a:cxn ang="0">
                    <a:pos x="256" y="705"/>
                  </a:cxn>
                  <a:cxn ang="0">
                    <a:pos x="176" y="625"/>
                  </a:cxn>
                  <a:cxn ang="0">
                    <a:pos x="80" y="553"/>
                  </a:cxn>
                  <a:cxn ang="0">
                    <a:pos x="40" y="465"/>
                  </a:cxn>
                  <a:cxn ang="0">
                    <a:pos x="0" y="369"/>
                  </a:cxn>
                  <a:cxn ang="0">
                    <a:pos x="88" y="305"/>
                  </a:cxn>
                </a:cxnLst>
                <a:rect l="0" t="0" r="r" b="b"/>
                <a:pathLst>
                  <a:path w="616" h="761">
                    <a:moveTo>
                      <a:pt x="88" y="305"/>
                    </a:moveTo>
                    <a:lnTo>
                      <a:pt x="38" y="209"/>
                    </a:lnTo>
                    <a:lnTo>
                      <a:pt x="113" y="192"/>
                    </a:lnTo>
                    <a:lnTo>
                      <a:pt x="175" y="65"/>
                    </a:lnTo>
                    <a:lnTo>
                      <a:pt x="329" y="8"/>
                    </a:lnTo>
                    <a:lnTo>
                      <a:pt x="457" y="0"/>
                    </a:lnTo>
                    <a:lnTo>
                      <a:pt x="523" y="48"/>
                    </a:lnTo>
                    <a:lnTo>
                      <a:pt x="583" y="155"/>
                    </a:lnTo>
                    <a:lnTo>
                      <a:pt x="616" y="294"/>
                    </a:lnTo>
                    <a:lnTo>
                      <a:pt x="584" y="390"/>
                    </a:lnTo>
                    <a:lnTo>
                      <a:pt x="598" y="513"/>
                    </a:lnTo>
                    <a:lnTo>
                      <a:pt x="601" y="591"/>
                    </a:lnTo>
                    <a:lnTo>
                      <a:pt x="520" y="614"/>
                    </a:lnTo>
                    <a:lnTo>
                      <a:pt x="457" y="687"/>
                    </a:lnTo>
                    <a:lnTo>
                      <a:pt x="376" y="759"/>
                    </a:lnTo>
                    <a:lnTo>
                      <a:pt x="320" y="761"/>
                    </a:lnTo>
                    <a:lnTo>
                      <a:pt x="256" y="705"/>
                    </a:lnTo>
                    <a:lnTo>
                      <a:pt x="176" y="625"/>
                    </a:lnTo>
                    <a:lnTo>
                      <a:pt x="80" y="553"/>
                    </a:lnTo>
                    <a:lnTo>
                      <a:pt x="40" y="465"/>
                    </a:lnTo>
                    <a:lnTo>
                      <a:pt x="0" y="369"/>
                    </a:lnTo>
                    <a:lnTo>
                      <a:pt x="88" y="30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4" name="Freeform 142">
                <a:extLst>
                  <a:ext uri="{FF2B5EF4-FFF2-40B4-BE49-F238E27FC236}">
                    <a16:creationId xmlns:a16="http://schemas.microsoft.com/office/drawing/2014/main" id="{5DB0D40E-FB1F-4FA2-94CF-164A32C28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010" y="2878755"/>
                <a:ext cx="296356" cy="242592"/>
              </a:xfrm>
              <a:custGeom>
                <a:avLst/>
                <a:gdLst/>
                <a:ahLst/>
                <a:cxnLst>
                  <a:cxn ang="0">
                    <a:pos x="420" y="6"/>
                  </a:cxn>
                  <a:cxn ang="0">
                    <a:pos x="345" y="24"/>
                  </a:cxn>
                  <a:cxn ang="0">
                    <a:pos x="299" y="15"/>
                  </a:cxn>
                  <a:cxn ang="0">
                    <a:pos x="204" y="30"/>
                  </a:cxn>
                  <a:cxn ang="0">
                    <a:pos x="135" y="113"/>
                  </a:cxn>
                  <a:cxn ang="0">
                    <a:pos x="65" y="296"/>
                  </a:cxn>
                  <a:cxn ang="0">
                    <a:pos x="24" y="487"/>
                  </a:cxn>
                  <a:cxn ang="0">
                    <a:pos x="100" y="582"/>
                  </a:cxn>
                  <a:cxn ang="0">
                    <a:pos x="134" y="656"/>
                  </a:cxn>
                  <a:cxn ang="0">
                    <a:pos x="291" y="660"/>
                  </a:cxn>
                  <a:cxn ang="0">
                    <a:pos x="321" y="621"/>
                  </a:cxn>
                  <a:cxn ang="0">
                    <a:pos x="377" y="609"/>
                  </a:cxn>
                  <a:cxn ang="0">
                    <a:pos x="429" y="635"/>
                  </a:cxn>
                  <a:cxn ang="0">
                    <a:pos x="449" y="657"/>
                  </a:cxn>
                  <a:cxn ang="0">
                    <a:pos x="488" y="656"/>
                  </a:cxn>
                  <a:cxn ang="0">
                    <a:pos x="524" y="687"/>
                  </a:cxn>
                  <a:cxn ang="0">
                    <a:pos x="572" y="671"/>
                  </a:cxn>
                  <a:cxn ang="0">
                    <a:pos x="626" y="683"/>
                  </a:cxn>
                  <a:cxn ang="0">
                    <a:pos x="617" y="717"/>
                  </a:cxn>
                  <a:cxn ang="0">
                    <a:pos x="569" y="728"/>
                  </a:cxn>
                  <a:cxn ang="0">
                    <a:pos x="534" y="741"/>
                  </a:cxn>
                  <a:cxn ang="0">
                    <a:pos x="486" y="726"/>
                  </a:cxn>
                  <a:cxn ang="0">
                    <a:pos x="440" y="705"/>
                  </a:cxn>
                  <a:cxn ang="0">
                    <a:pos x="387" y="683"/>
                  </a:cxn>
                  <a:cxn ang="0">
                    <a:pos x="353" y="672"/>
                  </a:cxn>
                  <a:cxn ang="0">
                    <a:pos x="339" y="705"/>
                  </a:cxn>
                  <a:cxn ang="0">
                    <a:pos x="285" y="705"/>
                  </a:cxn>
                  <a:cxn ang="0">
                    <a:pos x="224" y="716"/>
                  </a:cxn>
                  <a:cxn ang="0">
                    <a:pos x="44" y="749"/>
                  </a:cxn>
                  <a:cxn ang="0">
                    <a:pos x="18" y="759"/>
                  </a:cxn>
                  <a:cxn ang="0">
                    <a:pos x="0" y="809"/>
                  </a:cxn>
                  <a:cxn ang="0">
                    <a:pos x="27" y="870"/>
                  </a:cxn>
                  <a:cxn ang="0">
                    <a:pos x="50" y="873"/>
                  </a:cxn>
                  <a:cxn ang="0">
                    <a:pos x="30" y="905"/>
                  </a:cxn>
                  <a:cxn ang="0">
                    <a:pos x="96" y="924"/>
                  </a:cxn>
                  <a:cxn ang="0">
                    <a:pos x="186" y="903"/>
                  </a:cxn>
                  <a:cxn ang="0">
                    <a:pos x="291" y="879"/>
                  </a:cxn>
                  <a:cxn ang="0">
                    <a:pos x="612" y="857"/>
                  </a:cxn>
                  <a:cxn ang="0">
                    <a:pos x="773" y="870"/>
                  </a:cxn>
                  <a:cxn ang="0">
                    <a:pos x="816" y="882"/>
                  </a:cxn>
                  <a:cxn ang="0">
                    <a:pos x="905" y="912"/>
                  </a:cxn>
                  <a:cxn ang="0">
                    <a:pos x="977" y="905"/>
                  </a:cxn>
                  <a:cxn ang="0">
                    <a:pos x="1053" y="905"/>
                  </a:cxn>
                  <a:cxn ang="0">
                    <a:pos x="1122" y="896"/>
                  </a:cxn>
                  <a:cxn ang="0">
                    <a:pos x="1116" y="869"/>
                  </a:cxn>
                  <a:cxn ang="0">
                    <a:pos x="1115" y="804"/>
                  </a:cxn>
                  <a:cxn ang="0">
                    <a:pos x="1110" y="764"/>
                  </a:cxn>
                  <a:cxn ang="0">
                    <a:pos x="1071" y="696"/>
                  </a:cxn>
                  <a:cxn ang="0">
                    <a:pos x="1025" y="710"/>
                  </a:cxn>
                  <a:cxn ang="0">
                    <a:pos x="977" y="626"/>
                  </a:cxn>
                  <a:cxn ang="0">
                    <a:pos x="1001" y="581"/>
                  </a:cxn>
                  <a:cxn ang="0">
                    <a:pos x="986" y="510"/>
                  </a:cxn>
                  <a:cxn ang="0">
                    <a:pos x="944" y="467"/>
                  </a:cxn>
                  <a:cxn ang="0">
                    <a:pos x="903" y="387"/>
                  </a:cxn>
                  <a:cxn ang="0">
                    <a:pos x="848" y="338"/>
                  </a:cxn>
                  <a:cxn ang="0">
                    <a:pos x="804" y="281"/>
                  </a:cxn>
                  <a:cxn ang="0">
                    <a:pos x="743" y="219"/>
                  </a:cxn>
                  <a:cxn ang="0">
                    <a:pos x="708" y="132"/>
                  </a:cxn>
                  <a:cxn ang="0">
                    <a:pos x="653" y="113"/>
                  </a:cxn>
                  <a:cxn ang="0">
                    <a:pos x="576" y="54"/>
                  </a:cxn>
                  <a:cxn ang="0">
                    <a:pos x="506" y="8"/>
                  </a:cxn>
                </a:cxnLst>
                <a:rect l="0" t="0" r="r" b="b"/>
                <a:pathLst>
                  <a:path w="1131" h="927">
                    <a:moveTo>
                      <a:pt x="464" y="8"/>
                    </a:moveTo>
                    <a:lnTo>
                      <a:pt x="420" y="6"/>
                    </a:lnTo>
                    <a:lnTo>
                      <a:pt x="383" y="0"/>
                    </a:lnTo>
                    <a:lnTo>
                      <a:pt x="345" y="24"/>
                    </a:lnTo>
                    <a:lnTo>
                      <a:pt x="318" y="23"/>
                    </a:lnTo>
                    <a:lnTo>
                      <a:pt x="299" y="15"/>
                    </a:lnTo>
                    <a:lnTo>
                      <a:pt x="281" y="36"/>
                    </a:lnTo>
                    <a:lnTo>
                      <a:pt x="204" y="30"/>
                    </a:lnTo>
                    <a:lnTo>
                      <a:pt x="197" y="58"/>
                    </a:lnTo>
                    <a:lnTo>
                      <a:pt x="135" y="113"/>
                    </a:lnTo>
                    <a:lnTo>
                      <a:pt x="100" y="201"/>
                    </a:lnTo>
                    <a:lnTo>
                      <a:pt x="65" y="296"/>
                    </a:lnTo>
                    <a:lnTo>
                      <a:pt x="3" y="351"/>
                    </a:lnTo>
                    <a:lnTo>
                      <a:pt x="24" y="487"/>
                    </a:lnTo>
                    <a:lnTo>
                      <a:pt x="86" y="514"/>
                    </a:lnTo>
                    <a:lnTo>
                      <a:pt x="100" y="582"/>
                    </a:lnTo>
                    <a:lnTo>
                      <a:pt x="72" y="657"/>
                    </a:lnTo>
                    <a:lnTo>
                      <a:pt x="134" y="656"/>
                    </a:lnTo>
                    <a:lnTo>
                      <a:pt x="239" y="659"/>
                    </a:lnTo>
                    <a:lnTo>
                      <a:pt x="291" y="660"/>
                    </a:lnTo>
                    <a:lnTo>
                      <a:pt x="300" y="632"/>
                    </a:lnTo>
                    <a:lnTo>
                      <a:pt x="321" y="621"/>
                    </a:lnTo>
                    <a:lnTo>
                      <a:pt x="341" y="626"/>
                    </a:lnTo>
                    <a:lnTo>
                      <a:pt x="377" y="609"/>
                    </a:lnTo>
                    <a:lnTo>
                      <a:pt x="407" y="618"/>
                    </a:lnTo>
                    <a:lnTo>
                      <a:pt x="429" y="635"/>
                    </a:lnTo>
                    <a:lnTo>
                      <a:pt x="432" y="650"/>
                    </a:lnTo>
                    <a:lnTo>
                      <a:pt x="449" y="657"/>
                    </a:lnTo>
                    <a:lnTo>
                      <a:pt x="473" y="648"/>
                    </a:lnTo>
                    <a:lnTo>
                      <a:pt x="488" y="656"/>
                    </a:lnTo>
                    <a:lnTo>
                      <a:pt x="500" y="675"/>
                    </a:lnTo>
                    <a:lnTo>
                      <a:pt x="524" y="687"/>
                    </a:lnTo>
                    <a:lnTo>
                      <a:pt x="554" y="681"/>
                    </a:lnTo>
                    <a:lnTo>
                      <a:pt x="572" y="671"/>
                    </a:lnTo>
                    <a:lnTo>
                      <a:pt x="599" y="663"/>
                    </a:lnTo>
                    <a:lnTo>
                      <a:pt x="626" y="683"/>
                    </a:lnTo>
                    <a:lnTo>
                      <a:pt x="629" y="702"/>
                    </a:lnTo>
                    <a:lnTo>
                      <a:pt x="617" y="717"/>
                    </a:lnTo>
                    <a:lnTo>
                      <a:pt x="600" y="722"/>
                    </a:lnTo>
                    <a:lnTo>
                      <a:pt x="569" y="728"/>
                    </a:lnTo>
                    <a:lnTo>
                      <a:pt x="560" y="744"/>
                    </a:lnTo>
                    <a:lnTo>
                      <a:pt x="534" y="741"/>
                    </a:lnTo>
                    <a:lnTo>
                      <a:pt x="510" y="738"/>
                    </a:lnTo>
                    <a:lnTo>
                      <a:pt x="486" y="726"/>
                    </a:lnTo>
                    <a:lnTo>
                      <a:pt x="461" y="717"/>
                    </a:lnTo>
                    <a:lnTo>
                      <a:pt x="440" y="705"/>
                    </a:lnTo>
                    <a:lnTo>
                      <a:pt x="413" y="698"/>
                    </a:lnTo>
                    <a:lnTo>
                      <a:pt x="387" y="683"/>
                    </a:lnTo>
                    <a:lnTo>
                      <a:pt x="363" y="665"/>
                    </a:lnTo>
                    <a:lnTo>
                      <a:pt x="353" y="672"/>
                    </a:lnTo>
                    <a:lnTo>
                      <a:pt x="344" y="686"/>
                    </a:lnTo>
                    <a:lnTo>
                      <a:pt x="339" y="705"/>
                    </a:lnTo>
                    <a:lnTo>
                      <a:pt x="315" y="710"/>
                    </a:lnTo>
                    <a:lnTo>
                      <a:pt x="285" y="705"/>
                    </a:lnTo>
                    <a:lnTo>
                      <a:pt x="254" y="714"/>
                    </a:lnTo>
                    <a:lnTo>
                      <a:pt x="224" y="716"/>
                    </a:lnTo>
                    <a:lnTo>
                      <a:pt x="222" y="750"/>
                    </a:lnTo>
                    <a:lnTo>
                      <a:pt x="44" y="749"/>
                    </a:lnTo>
                    <a:lnTo>
                      <a:pt x="27" y="770"/>
                    </a:lnTo>
                    <a:lnTo>
                      <a:pt x="18" y="759"/>
                    </a:lnTo>
                    <a:lnTo>
                      <a:pt x="11" y="773"/>
                    </a:lnTo>
                    <a:lnTo>
                      <a:pt x="0" y="809"/>
                    </a:lnTo>
                    <a:lnTo>
                      <a:pt x="18" y="875"/>
                    </a:lnTo>
                    <a:lnTo>
                      <a:pt x="27" y="870"/>
                    </a:lnTo>
                    <a:lnTo>
                      <a:pt x="63" y="857"/>
                    </a:lnTo>
                    <a:lnTo>
                      <a:pt x="50" y="873"/>
                    </a:lnTo>
                    <a:lnTo>
                      <a:pt x="24" y="881"/>
                    </a:lnTo>
                    <a:lnTo>
                      <a:pt x="30" y="905"/>
                    </a:lnTo>
                    <a:lnTo>
                      <a:pt x="36" y="924"/>
                    </a:lnTo>
                    <a:lnTo>
                      <a:pt x="96" y="924"/>
                    </a:lnTo>
                    <a:lnTo>
                      <a:pt x="132" y="902"/>
                    </a:lnTo>
                    <a:lnTo>
                      <a:pt x="186" y="903"/>
                    </a:lnTo>
                    <a:lnTo>
                      <a:pt x="246" y="909"/>
                    </a:lnTo>
                    <a:lnTo>
                      <a:pt x="291" y="879"/>
                    </a:lnTo>
                    <a:lnTo>
                      <a:pt x="326" y="851"/>
                    </a:lnTo>
                    <a:lnTo>
                      <a:pt x="612" y="857"/>
                    </a:lnTo>
                    <a:lnTo>
                      <a:pt x="720" y="860"/>
                    </a:lnTo>
                    <a:lnTo>
                      <a:pt x="773" y="870"/>
                    </a:lnTo>
                    <a:lnTo>
                      <a:pt x="785" y="897"/>
                    </a:lnTo>
                    <a:lnTo>
                      <a:pt x="816" y="882"/>
                    </a:lnTo>
                    <a:lnTo>
                      <a:pt x="849" y="903"/>
                    </a:lnTo>
                    <a:lnTo>
                      <a:pt x="905" y="912"/>
                    </a:lnTo>
                    <a:lnTo>
                      <a:pt x="932" y="927"/>
                    </a:lnTo>
                    <a:lnTo>
                      <a:pt x="977" y="905"/>
                    </a:lnTo>
                    <a:lnTo>
                      <a:pt x="1020" y="900"/>
                    </a:lnTo>
                    <a:lnTo>
                      <a:pt x="1053" y="905"/>
                    </a:lnTo>
                    <a:lnTo>
                      <a:pt x="1091" y="899"/>
                    </a:lnTo>
                    <a:lnTo>
                      <a:pt x="1122" y="896"/>
                    </a:lnTo>
                    <a:lnTo>
                      <a:pt x="1131" y="888"/>
                    </a:lnTo>
                    <a:lnTo>
                      <a:pt x="1116" y="869"/>
                    </a:lnTo>
                    <a:lnTo>
                      <a:pt x="1122" y="833"/>
                    </a:lnTo>
                    <a:lnTo>
                      <a:pt x="1115" y="804"/>
                    </a:lnTo>
                    <a:lnTo>
                      <a:pt x="1127" y="783"/>
                    </a:lnTo>
                    <a:lnTo>
                      <a:pt x="1110" y="764"/>
                    </a:lnTo>
                    <a:lnTo>
                      <a:pt x="1089" y="731"/>
                    </a:lnTo>
                    <a:lnTo>
                      <a:pt x="1071" y="696"/>
                    </a:lnTo>
                    <a:lnTo>
                      <a:pt x="1047" y="693"/>
                    </a:lnTo>
                    <a:lnTo>
                      <a:pt x="1025" y="710"/>
                    </a:lnTo>
                    <a:lnTo>
                      <a:pt x="1017" y="681"/>
                    </a:lnTo>
                    <a:lnTo>
                      <a:pt x="977" y="626"/>
                    </a:lnTo>
                    <a:lnTo>
                      <a:pt x="1005" y="609"/>
                    </a:lnTo>
                    <a:lnTo>
                      <a:pt x="1001" y="581"/>
                    </a:lnTo>
                    <a:lnTo>
                      <a:pt x="989" y="557"/>
                    </a:lnTo>
                    <a:lnTo>
                      <a:pt x="986" y="510"/>
                    </a:lnTo>
                    <a:lnTo>
                      <a:pt x="971" y="495"/>
                    </a:lnTo>
                    <a:lnTo>
                      <a:pt x="944" y="467"/>
                    </a:lnTo>
                    <a:lnTo>
                      <a:pt x="961" y="425"/>
                    </a:lnTo>
                    <a:lnTo>
                      <a:pt x="903" y="387"/>
                    </a:lnTo>
                    <a:lnTo>
                      <a:pt x="890" y="351"/>
                    </a:lnTo>
                    <a:lnTo>
                      <a:pt x="848" y="338"/>
                    </a:lnTo>
                    <a:lnTo>
                      <a:pt x="815" y="308"/>
                    </a:lnTo>
                    <a:lnTo>
                      <a:pt x="804" y="281"/>
                    </a:lnTo>
                    <a:lnTo>
                      <a:pt x="782" y="254"/>
                    </a:lnTo>
                    <a:lnTo>
                      <a:pt x="743" y="219"/>
                    </a:lnTo>
                    <a:lnTo>
                      <a:pt x="720" y="174"/>
                    </a:lnTo>
                    <a:lnTo>
                      <a:pt x="708" y="132"/>
                    </a:lnTo>
                    <a:lnTo>
                      <a:pt x="686" y="116"/>
                    </a:lnTo>
                    <a:lnTo>
                      <a:pt x="653" y="113"/>
                    </a:lnTo>
                    <a:lnTo>
                      <a:pt x="612" y="110"/>
                    </a:lnTo>
                    <a:lnTo>
                      <a:pt x="576" y="54"/>
                    </a:lnTo>
                    <a:lnTo>
                      <a:pt x="527" y="17"/>
                    </a:lnTo>
                    <a:lnTo>
                      <a:pt x="506" y="8"/>
                    </a:lnTo>
                    <a:lnTo>
                      <a:pt x="464" y="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5" name="Freeform 143">
                <a:extLst>
                  <a:ext uri="{FF2B5EF4-FFF2-40B4-BE49-F238E27FC236}">
                    <a16:creationId xmlns:a16="http://schemas.microsoft.com/office/drawing/2014/main" id="{87E03588-8433-4D14-A703-F04541984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255" y="3038735"/>
                <a:ext cx="159980" cy="40651"/>
              </a:xfrm>
              <a:custGeom>
                <a:avLst/>
                <a:gdLst/>
                <a:ahLst/>
                <a:cxnLst>
                  <a:cxn ang="0">
                    <a:pos x="57" y="72"/>
                  </a:cxn>
                  <a:cxn ang="0">
                    <a:pos x="68" y="98"/>
                  </a:cxn>
                  <a:cxn ang="0">
                    <a:pos x="113" y="95"/>
                  </a:cxn>
                  <a:cxn ang="0">
                    <a:pos x="167" y="80"/>
                  </a:cxn>
                  <a:cxn ang="0">
                    <a:pos x="231" y="71"/>
                  </a:cxn>
                  <a:cxn ang="0">
                    <a:pos x="255" y="68"/>
                  </a:cxn>
                  <a:cxn ang="0">
                    <a:pos x="246" y="84"/>
                  </a:cxn>
                  <a:cxn ang="0">
                    <a:pos x="219" y="81"/>
                  </a:cxn>
                  <a:cxn ang="0">
                    <a:pos x="167" y="89"/>
                  </a:cxn>
                  <a:cxn ang="0">
                    <a:pos x="113" y="107"/>
                  </a:cxn>
                  <a:cxn ang="0">
                    <a:pos x="62" y="110"/>
                  </a:cxn>
                  <a:cxn ang="0">
                    <a:pos x="47" y="74"/>
                  </a:cxn>
                  <a:cxn ang="0">
                    <a:pos x="26" y="102"/>
                  </a:cxn>
                  <a:cxn ang="0">
                    <a:pos x="0" y="150"/>
                  </a:cxn>
                  <a:cxn ang="0">
                    <a:pos x="27" y="141"/>
                  </a:cxn>
                  <a:cxn ang="0">
                    <a:pos x="204" y="107"/>
                  </a:cxn>
                  <a:cxn ang="0">
                    <a:pos x="264" y="98"/>
                  </a:cxn>
                  <a:cxn ang="0">
                    <a:pos x="320" y="95"/>
                  </a:cxn>
                  <a:cxn ang="0">
                    <a:pos x="348" y="57"/>
                  </a:cxn>
                  <a:cxn ang="0">
                    <a:pos x="398" y="89"/>
                  </a:cxn>
                  <a:cxn ang="0">
                    <a:pos x="465" y="114"/>
                  </a:cxn>
                  <a:cxn ang="0">
                    <a:pos x="542" y="135"/>
                  </a:cxn>
                  <a:cxn ang="0">
                    <a:pos x="600" y="108"/>
                  </a:cxn>
                  <a:cxn ang="0">
                    <a:pos x="608" y="74"/>
                  </a:cxn>
                  <a:cxn ang="0">
                    <a:pos x="554" y="62"/>
                  </a:cxn>
                  <a:cxn ang="0">
                    <a:pos x="498" y="77"/>
                  </a:cxn>
                  <a:cxn ang="0">
                    <a:pos x="470" y="44"/>
                  </a:cxn>
                  <a:cxn ang="0">
                    <a:pos x="432" y="47"/>
                  </a:cxn>
                  <a:cxn ang="0">
                    <a:pos x="413" y="26"/>
                  </a:cxn>
                  <a:cxn ang="0">
                    <a:pos x="357" y="0"/>
                  </a:cxn>
                  <a:cxn ang="0">
                    <a:pos x="308" y="11"/>
                  </a:cxn>
                  <a:cxn ang="0">
                    <a:pos x="281" y="27"/>
                  </a:cxn>
                  <a:cxn ang="0">
                    <a:pos x="54" y="48"/>
                  </a:cxn>
                </a:cxnLst>
                <a:rect l="0" t="0" r="r" b="b"/>
                <a:pathLst>
                  <a:path w="612" h="158">
                    <a:moveTo>
                      <a:pt x="54" y="48"/>
                    </a:moveTo>
                    <a:lnTo>
                      <a:pt x="57" y="72"/>
                    </a:lnTo>
                    <a:lnTo>
                      <a:pt x="68" y="84"/>
                    </a:lnTo>
                    <a:lnTo>
                      <a:pt x="68" y="98"/>
                    </a:lnTo>
                    <a:lnTo>
                      <a:pt x="93" y="102"/>
                    </a:lnTo>
                    <a:lnTo>
                      <a:pt x="113" y="95"/>
                    </a:lnTo>
                    <a:lnTo>
                      <a:pt x="131" y="80"/>
                    </a:lnTo>
                    <a:lnTo>
                      <a:pt x="167" y="80"/>
                    </a:lnTo>
                    <a:lnTo>
                      <a:pt x="195" y="80"/>
                    </a:lnTo>
                    <a:lnTo>
                      <a:pt x="231" y="71"/>
                    </a:lnTo>
                    <a:lnTo>
                      <a:pt x="246" y="74"/>
                    </a:lnTo>
                    <a:lnTo>
                      <a:pt x="255" y="68"/>
                    </a:lnTo>
                    <a:lnTo>
                      <a:pt x="269" y="72"/>
                    </a:lnTo>
                    <a:lnTo>
                      <a:pt x="246" y="84"/>
                    </a:lnTo>
                    <a:lnTo>
                      <a:pt x="233" y="80"/>
                    </a:lnTo>
                    <a:lnTo>
                      <a:pt x="219" y="81"/>
                    </a:lnTo>
                    <a:lnTo>
                      <a:pt x="188" y="87"/>
                    </a:lnTo>
                    <a:lnTo>
                      <a:pt x="167" y="89"/>
                    </a:lnTo>
                    <a:lnTo>
                      <a:pt x="134" y="89"/>
                    </a:lnTo>
                    <a:lnTo>
                      <a:pt x="113" y="107"/>
                    </a:lnTo>
                    <a:lnTo>
                      <a:pt x="80" y="119"/>
                    </a:lnTo>
                    <a:lnTo>
                      <a:pt x="62" y="110"/>
                    </a:lnTo>
                    <a:lnTo>
                      <a:pt x="45" y="95"/>
                    </a:lnTo>
                    <a:lnTo>
                      <a:pt x="47" y="74"/>
                    </a:lnTo>
                    <a:lnTo>
                      <a:pt x="35" y="87"/>
                    </a:lnTo>
                    <a:lnTo>
                      <a:pt x="26" y="102"/>
                    </a:lnTo>
                    <a:lnTo>
                      <a:pt x="9" y="129"/>
                    </a:lnTo>
                    <a:lnTo>
                      <a:pt x="0" y="150"/>
                    </a:lnTo>
                    <a:lnTo>
                      <a:pt x="12" y="158"/>
                    </a:lnTo>
                    <a:lnTo>
                      <a:pt x="27" y="141"/>
                    </a:lnTo>
                    <a:lnTo>
                      <a:pt x="206" y="143"/>
                    </a:lnTo>
                    <a:lnTo>
                      <a:pt x="204" y="107"/>
                    </a:lnTo>
                    <a:lnTo>
                      <a:pt x="231" y="108"/>
                    </a:lnTo>
                    <a:lnTo>
                      <a:pt x="264" y="98"/>
                    </a:lnTo>
                    <a:lnTo>
                      <a:pt x="302" y="102"/>
                    </a:lnTo>
                    <a:lnTo>
                      <a:pt x="320" y="95"/>
                    </a:lnTo>
                    <a:lnTo>
                      <a:pt x="333" y="65"/>
                    </a:lnTo>
                    <a:lnTo>
                      <a:pt x="348" y="57"/>
                    </a:lnTo>
                    <a:lnTo>
                      <a:pt x="368" y="74"/>
                    </a:lnTo>
                    <a:lnTo>
                      <a:pt x="398" y="89"/>
                    </a:lnTo>
                    <a:lnTo>
                      <a:pt x="431" y="101"/>
                    </a:lnTo>
                    <a:lnTo>
                      <a:pt x="465" y="114"/>
                    </a:lnTo>
                    <a:lnTo>
                      <a:pt x="491" y="129"/>
                    </a:lnTo>
                    <a:lnTo>
                      <a:pt x="542" y="135"/>
                    </a:lnTo>
                    <a:lnTo>
                      <a:pt x="551" y="119"/>
                    </a:lnTo>
                    <a:lnTo>
                      <a:pt x="600" y="108"/>
                    </a:lnTo>
                    <a:lnTo>
                      <a:pt x="612" y="90"/>
                    </a:lnTo>
                    <a:lnTo>
                      <a:pt x="608" y="74"/>
                    </a:lnTo>
                    <a:lnTo>
                      <a:pt x="579" y="54"/>
                    </a:lnTo>
                    <a:lnTo>
                      <a:pt x="554" y="62"/>
                    </a:lnTo>
                    <a:lnTo>
                      <a:pt x="530" y="72"/>
                    </a:lnTo>
                    <a:lnTo>
                      <a:pt x="498" y="77"/>
                    </a:lnTo>
                    <a:lnTo>
                      <a:pt x="479" y="66"/>
                    </a:lnTo>
                    <a:lnTo>
                      <a:pt x="470" y="44"/>
                    </a:lnTo>
                    <a:lnTo>
                      <a:pt x="449" y="38"/>
                    </a:lnTo>
                    <a:lnTo>
                      <a:pt x="432" y="47"/>
                    </a:lnTo>
                    <a:lnTo>
                      <a:pt x="413" y="41"/>
                    </a:lnTo>
                    <a:lnTo>
                      <a:pt x="413" y="26"/>
                    </a:lnTo>
                    <a:lnTo>
                      <a:pt x="390" y="12"/>
                    </a:lnTo>
                    <a:lnTo>
                      <a:pt x="357" y="0"/>
                    </a:lnTo>
                    <a:lnTo>
                      <a:pt x="324" y="17"/>
                    </a:lnTo>
                    <a:lnTo>
                      <a:pt x="308" y="11"/>
                    </a:lnTo>
                    <a:lnTo>
                      <a:pt x="293" y="17"/>
                    </a:lnTo>
                    <a:lnTo>
                      <a:pt x="281" y="27"/>
                    </a:lnTo>
                    <a:lnTo>
                      <a:pt x="275" y="50"/>
                    </a:lnTo>
                    <a:lnTo>
                      <a:pt x="54" y="4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6" name="Freeform 144">
                <a:extLst>
                  <a:ext uri="{FF2B5EF4-FFF2-40B4-BE49-F238E27FC236}">
                    <a16:creationId xmlns:a16="http://schemas.microsoft.com/office/drawing/2014/main" id="{036676A7-3B61-402E-9F79-0C85D5246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491" y="3104300"/>
                <a:ext cx="381591" cy="312091"/>
              </a:xfrm>
              <a:custGeom>
                <a:avLst/>
                <a:gdLst/>
                <a:ahLst/>
                <a:cxnLst>
                  <a:cxn ang="0">
                    <a:pos x="1337" y="1118"/>
                  </a:cxn>
                  <a:cxn ang="0">
                    <a:pos x="1303" y="956"/>
                  </a:cxn>
                  <a:cxn ang="0">
                    <a:pos x="1355" y="776"/>
                  </a:cxn>
                  <a:cxn ang="0">
                    <a:pos x="1322" y="509"/>
                  </a:cxn>
                  <a:cxn ang="0">
                    <a:pos x="1306" y="292"/>
                  </a:cxn>
                  <a:cxn ang="0">
                    <a:pos x="1229" y="125"/>
                  </a:cxn>
                  <a:cxn ang="0">
                    <a:pos x="1055" y="167"/>
                  </a:cxn>
                  <a:cxn ang="0">
                    <a:pos x="865" y="182"/>
                  </a:cxn>
                  <a:cxn ang="0">
                    <a:pos x="787" y="172"/>
                  </a:cxn>
                  <a:cxn ang="0">
                    <a:pos x="770" y="36"/>
                  </a:cxn>
                  <a:cxn ang="0">
                    <a:pos x="680" y="39"/>
                  </a:cxn>
                  <a:cxn ang="0">
                    <a:pos x="590" y="69"/>
                  </a:cxn>
                  <a:cxn ang="0">
                    <a:pos x="504" y="46"/>
                  </a:cxn>
                  <a:cxn ang="0">
                    <a:pos x="441" y="36"/>
                  </a:cxn>
                  <a:cxn ang="0">
                    <a:pos x="371" y="0"/>
                  </a:cxn>
                  <a:cxn ang="0">
                    <a:pos x="273" y="0"/>
                  </a:cxn>
                  <a:cxn ang="0">
                    <a:pos x="284" y="40"/>
                  </a:cxn>
                  <a:cxn ang="0">
                    <a:pos x="278" y="79"/>
                  </a:cxn>
                  <a:cxn ang="0">
                    <a:pos x="245" y="84"/>
                  </a:cxn>
                  <a:cxn ang="0">
                    <a:pos x="222" y="108"/>
                  </a:cxn>
                  <a:cxn ang="0">
                    <a:pos x="250" y="131"/>
                  </a:cxn>
                  <a:cxn ang="0">
                    <a:pos x="267" y="171"/>
                  </a:cxn>
                  <a:cxn ang="0">
                    <a:pos x="251" y="211"/>
                  </a:cxn>
                  <a:cxn ang="0">
                    <a:pos x="234" y="216"/>
                  </a:cxn>
                  <a:cxn ang="0">
                    <a:pos x="188" y="219"/>
                  </a:cxn>
                  <a:cxn ang="0">
                    <a:pos x="147" y="231"/>
                  </a:cxn>
                  <a:cxn ang="0">
                    <a:pos x="80" y="249"/>
                  </a:cxn>
                  <a:cxn ang="0">
                    <a:pos x="47" y="303"/>
                  </a:cxn>
                  <a:cxn ang="0">
                    <a:pos x="0" y="376"/>
                  </a:cxn>
                  <a:cxn ang="0">
                    <a:pos x="56" y="500"/>
                  </a:cxn>
                  <a:cxn ang="0">
                    <a:pos x="216" y="630"/>
                  </a:cxn>
                  <a:cxn ang="0">
                    <a:pos x="347" y="773"/>
                  </a:cxn>
                  <a:cxn ang="0">
                    <a:pos x="465" y="650"/>
                  </a:cxn>
                  <a:cxn ang="0">
                    <a:pos x="708" y="596"/>
                  </a:cxn>
                  <a:cxn ang="0">
                    <a:pos x="818" y="726"/>
                  </a:cxn>
                  <a:cxn ang="0">
                    <a:pos x="818" y="931"/>
                  </a:cxn>
                  <a:cxn ang="0">
                    <a:pos x="865" y="987"/>
                  </a:cxn>
                  <a:cxn ang="0">
                    <a:pos x="1005" y="912"/>
                  </a:cxn>
                  <a:cxn ang="0">
                    <a:pos x="1078" y="999"/>
                  </a:cxn>
                  <a:cxn ang="0">
                    <a:pos x="1106" y="1164"/>
                  </a:cxn>
                  <a:cxn ang="0">
                    <a:pos x="1208" y="1156"/>
                  </a:cxn>
                </a:cxnLst>
                <a:rect l="0" t="0" r="r" b="b"/>
                <a:pathLst>
                  <a:path w="1454" h="1192">
                    <a:moveTo>
                      <a:pt x="1257" y="1153"/>
                    </a:moveTo>
                    <a:lnTo>
                      <a:pt x="1337" y="1118"/>
                    </a:lnTo>
                    <a:lnTo>
                      <a:pt x="1345" y="1033"/>
                    </a:lnTo>
                    <a:lnTo>
                      <a:pt x="1303" y="956"/>
                    </a:lnTo>
                    <a:lnTo>
                      <a:pt x="1454" y="920"/>
                    </a:lnTo>
                    <a:lnTo>
                      <a:pt x="1355" y="776"/>
                    </a:lnTo>
                    <a:lnTo>
                      <a:pt x="1402" y="562"/>
                    </a:lnTo>
                    <a:lnTo>
                      <a:pt x="1322" y="509"/>
                    </a:lnTo>
                    <a:lnTo>
                      <a:pt x="1286" y="403"/>
                    </a:lnTo>
                    <a:lnTo>
                      <a:pt x="1306" y="292"/>
                    </a:lnTo>
                    <a:lnTo>
                      <a:pt x="1238" y="228"/>
                    </a:lnTo>
                    <a:lnTo>
                      <a:pt x="1229" y="125"/>
                    </a:lnTo>
                    <a:lnTo>
                      <a:pt x="1159" y="100"/>
                    </a:lnTo>
                    <a:lnTo>
                      <a:pt x="1055" y="167"/>
                    </a:lnTo>
                    <a:lnTo>
                      <a:pt x="955" y="135"/>
                    </a:lnTo>
                    <a:lnTo>
                      <a:pt x="865" y="182"/>
                    </a:lnTo>
                    <a:lnTo>
                      <a:pt x="841" y="136"/>
                    </a:lnTo>
                    <a:lnTo>
                      <a:pt x="787" y="172"/>
                    </a:lnTo>
                    <a:lnTo>
                      <a:pt x="717" y="146"/>
                    </a:lnTo>
                    <a:lnTo>
                      <a:pt x="770" y="36"/>
                    </a:lnTo>
                    <a:lnTo>
                      <a:pt x="713" y="45"/>
                    </a:lnTo>
                    <a:lnTo>
                      <a:pt x="680" y="39"/>
                    </a:lnTo>
                    <a:lnTo>
                      <a:pt x="632" y="43"/>
                    </a:lnTo>
                    <a:lnTo>
                      <a:pt x="590" y="69"/>
                    </a:lnTo>
                    <a:lnTo>
                      <a:pt x="555" y="52"/>
                    </a:lnTo>
                    <a:lnTo>
                      <a:pt x="504" y="46"/>
                    </a:lnTo>
                    <a:lnTo>
                      <a:pt x="473" y="22"/>
                    </a:lnTo>
                    <a:lnTo>
                      <a:pt x="441" y="36"/>
                    </a:lnTo>
                    <a:lnTo>
                      <a:pt x="426" y="12"/>
                    </a:lnTo>
                    <a:lnTo>
                      <a:pt x="371" y="0"/>
                    </a:lnTo>
                    <a:lnTo>
                      <a:pt x="323" y="1"/>
                    </a:lnTo>
                    <a:lnTo>
                      <a:pt x="273" y="0"/>
                    </a:lnTo>
                    <a:lnTo>
                      <a:pt x="275" y="21"/>
                    </a:lnTo>
                    <a:lnTo>
                      <a:pt x="284" y="40"/>
                    </a:lnTo>
                    <a:lnTo>
                      <a:pt x="278" y="58"/>
                    </a:lnTo>
                    <a:lnTo>
                      <a:pt x="278" y="79"/>
                    </a:lnTo>
                    <a:lnTo>
                      <a:pt x="263" y="90"/>
                    </a:lnTo>
                    <a:lnTo>
                      <a:pt x="245" y="84"/>
                    </a:lnTo>
                    <a:lnTo>
                      <a:pt x="228" y="91"/>
                    </a:lnTo>
                    <a:lnTo>
                      <a:pt x="222" y="108"/>
                    </a:lnTo>
                    <a:lnTo>
                      <a:pt x="237" y="115"/>
                    </a:lnTo>
                    <a:lnTo>
                      <a:pt x="250" y="131"/>
                    </a:lnTo>
                    <a:lnTo>
                      <a:pt x="269" y="138"/>
                    </a:lnTo>
                    <a:lnTo>
                      <a:pt x="267" y="171"/>
                    </a:lnTo>
                    <a:lnTo>
                      <a:pt x="266" y="202"/>
                    </a:lnTo>
                    <a:lnTo>
                      <a:pt x="251" y="211"/>
                    </a:lnTo>
                    <a:lnTo>
                      <a:pt x="237" y="198"/>
                    </a:lnTo>
                    <a:lnTo>
                      <a:pt x="234" y="216"/>
                    </a:lnTo>
                    <a:lnTo>
                      <a:pt x="215" y="217"/>
                    </a:lnTo>
                    <a:lnTo>
                      <a:pt x="188" y="219"/>
                    </a:lnTo>
                    <a:lnTo>
                      <a:pt x="162" y="213"/>
                    </a:lnTo>
                    <a:lnTo>
                      <a:pt x="147" y="231"/>
                    </a:lnTo>
                    <a:lnTo>
                      <a:pt x="110" y="252"/>
                    </a:lnTo>
                    <a:lnTo>
                      <a:pt x="80" y="249"/>
                    </a:lnTo>
                    <a:lnTo>
                      <a:pt x="68" y="270"/>
                    </a:lnTo>
                    <a:lnTo>
                      <a:pt x="47" y="303"/>
                    </a:lnTo>
                    <a:lnTo>
                      <a:pt x="24" y="361"/>
                    </a:lnTo>
                    <a:lnTo>
                      <a:pt x="0" y="376"/>
                    </a:lnTo>
                    <a:lnTo>
                      <a:pt x="56" y="418"/>
                    </a:lnTo>
                    <a:lnTo>
                      <a:pt x="56" y="500"/>
                    </a:lnTo>
                    <a:lnTo>
                      <a:pt x="147" y="562"/>
                    </a:lnTo>
                    <a:lnTo>
                      <a:pt x="216" y="630"/>
                    </a:lnTo>
                    <a:lnTo>
                      <a:pt x="299" y="685"/>
                    </a:lnTo>
                    <a:lnTo>
                      <a:pt x="347" y="773"/>
                    </a:lnTo>
                    <a:lnTo>
                      <a:pt x="410" y="760"/>
                    </a:lnTo>
                    <a:lnTo>
                      <a:pt x="465" y="650"/>
                    </a:lnTo>
                    <a:lnTo>
                      <a:pt x="597" y="603"/>
                    </a:lnTo>
                    <a:lnTo>
                      <a:pt x="708" y="596"/>
                    </a:lnTo>
                    <a:lnTo>
                      <a:pt x="764" y="636"/>
                    </a:lnTo>
                    <a:lnTo>
                      <a:pt x="818" y="726"/>
                    </a:lnTo>
                    <a:lnTo>
                      <a:pt x="846" y="849"/>
                    </a:lnTo>
                    <a:lnTo>
                      <a:pt x="818" y="931"/>
                    </a:lnTo>
                    <a:lnTo>
                      <a:pt x="831" y="1033"/>
                    </a:lnTo>
                    <a:lnTo>
                      <a:pt x="865" y="987"/>
                    </a:lnTo>
                    <a:lnTo>
                      <a:pt x="929" y="943"/>
                    </a:lnTo>
                    <a:lnTo>
                      <a:pt x="1005" y="912"/>
                    </a:lnTo>
                    <a:lnTo>
                      <a:pt x="1047" y="940"/>
                    </a:lnTo>
                    <a:lnTo>
                      <a:pt x="1078" y="999"/>
                    </a:lnTo>
                    <a:lnTo>
                      <a:pt x="1078" y="1107"/>
                    </a:lnTo>
                    <a:lnTo>
                      <a:pt x="1106" y="1164"/>
                    </a:lnTo>
                    <a:lnTo>
                      <a:pt x="1140" y="1192"/>
                    </a:lnTo>
                    <a:lnTo>
                      <a:pt x="1208" y="1156"/>
                    </a:lnTo>
                    <a:lnTo>
                      <a:pt x="1257" y="115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7" name="Freeform 145">
                <a:extLst>
                  <a:ext uri="{FF2B5EF4-FFF2-40B4-BE49-F238E27FC236}">
                    <a16:creationId xmlns:a16="http://schemas.microsoft.com/office/drawing/2014/main" id="{04912C55-CE7D-4867-B623-DF007D3469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500" y="3101677"/>
                <a:ext cx="154734" cy="102282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37" y="159"/>
                  </a:cxn>
                  <a:cxn ang="0">
                    <a:pos x="157" y="159"/>
                  </a:cxn>
                  <a:cxn ang="0">
                    <a:pos x="207" y="217"/>
                  </a:cxn>
                  <a:cxn ang="0">
                    <a:pos x="211" y="305"/>
                  </a:cxn>
                  <a:cxn ang="0">
                    <a:pos x="301" y="387"/>
                  </a:cxn>
                  <a:cxn ang="0">
                    <a:pos x="331" y="373"/>
                  </a:cxn>
                  <a:cxn ang="0">
                    <a:pos x="354" y="315"/>
                  </a:cxn>
                  <a:cxn ang="0">
                    <a:pos x="384" y="259"/>
                  </a:cxn>
                  <a:cxn ang="0">
                    <a:pos x="417" y="259"/>
                  </a:cxn>
                  <a:cxn ang="0">
                    <a:pos x="453" y="241"/>
                  </a:cxn>
                  <a:cxn ang="0">
                    <a:pos x="469" y="225"/>
                  </a:cxn>
                  <a:cxn ang="0">
                    <a:pos x="498" y="229"/>
                  </a:cxn>
                  <a:cxn ang="0">
                    <a:pos x="538" y="226"/>
                  </a:cxn>
                  <a:cxn ang="0">
                    <a:pos x="546" y="210"/>
                  </a:cxn>
                  <a:cxn ang="0">
                    <a:pos x="561" y="222"/>
                  </a:cxn>
                  <a:cxn ang="0">
                    <a:pos x="575" y="213"/>
                  </a:cxn>
                  <a:cxn ang="0">
                    <a:pos x="574" y="147"/>
                  </a:cxn>
                  <a:cxn ang="0">
                    <a:pos x="561" y="144"/>
                  </a:cxn>
                  <a:cxn ang="0">
                    <a:pos x="546" y="127"/>
                  </a:cxn>
                  <a:cxn ang="0">
                    <a:pos x="531" y="115"/>
                  </a:cxn>
                  <a:cxn ang="0">
                    <a:pos x="537" y="102"/>
                  </a:cxn>
                  <a:cxn ang="0">
                    <a:pos x="550" y="91"/>
                  </a:cxn>
                  <a:cxn ang="0">
                    <a:pos x="567" y="96"/>
                  </a:cxn>
                  <a:cxn ang="0">
                    <a:pos x="583" y="93"/>
                  </a:cxn>
                  <a:cxn ang="0">
                    <a:pos x="588" y="66"/>
                  </a:cxn>
                  <a:cxn ang="0">
                    <a:pos x="594" y="49"/>
                  </a:cxn>
                  <a:cxn ang="0">
                    <a:pos x="580" y="31"/>
                  </a:cxn>
                  <a:cxn ang="0">
                    <a:pos x="579" y="5"/>
                  </a:cxn>
                  <a:cxn ang="0">
                    <a:pos x="439" y="3"/>
                  </a:cxn>
                  <a:cxn ang="0">
                    <a:pos x="340" y="0"/>
                  </a:cxn>
                  <a:cxn ang="0">
                    <a:pos x="285" y="0"/>
                  </a:cxn>
                  <a:cxn ang="0">
                    <a:pos x="210" y="58"/>
                  </a:cxn>
                  <a:cxn ang="0">
                    <a:pos x="154" y="52"/>
                  </a:cxn>
                  <a:cxn ang="0">
                    <a:pos x="90" y="52"/>
                  </a:cxn>
                  <a:cxn ang="0">
                    <a:pos x="60" y="73"/>
                  </a:cxn>
                  <a:cxn ang="0">
                    <a:pos x="0" y="75"/>
                  </a:cxn>
                </a:cxnLst>
                <a:rect l="0" t="0" r="r" b="b"/>
                <a:pathLst>
                  <a:path w="594" h="387">
                    <a:moveTo>
                      <a:pt x="0" y="75"/>
                    </a:moveTo>
                    <a:lnTo>
                      <a:pt x="37" y="159"/>
                    </a:lnTo>
                    <a:lnTo>
                      <a:pt x="157" y="159"/>
                    </a:lnTo>
                    <a:lnTo>
                      <a:pt x="207" y="217"/>
                    </a:lnTo>
                    <a:lnTo>
                      <a:pt x="211" y="305"/>
                    </a:lnTo>
                    <a:lnTo>
                      <a:pt x="301" y="387"/>
                    </a:lnTo>
                    <a:lnTo>
                      <a:pt x="331" y="373"/>
                    </a:lnTo>
                    <a:lnTo>
                      <a:pt x="354" y="315"/>
                    </a:lnTo>
                    <a:lnTo>
                      <a:pt x="384" y="259"/>
                    </a:lnTo>
                    <a:lnTo>
                      <a:pt x="417" y="259"/>
                    </a:lnTo>
                    <a:lnTo>
                      <a:pt x="453" y="241"/>
                    </a:lnTo>
                    <a:lnTo>
                      <a:pt x="469" y="225"/>
                    </a:lnTo>
                    <a:lnTo>
                      <a:pt x="498" y="229"/>
                    </a:lnTo>
                    <a:lnTo>
                      <a:pt x="538" y="226"/>
                    </a:lnTo>
                    <a:lnTo>
                      <a:pt x="546" y="210"/>
                    </a:lnTo>
                    <a:lnTo>
                      <a:pt x="561" y="222"/>
                    </a:lnTo>
                    <a:lnTo>
                      <a:pt x="575" y="213"/>
                    </a:lnTo>
                    <a:lnTo>
                      <a:pt x="574" y="147"/>
                    </a:lnTo>
                    <a:lnTo>
                      <a:pt x="561" y="144"/>
                    </a:lnTo>
                    <a:lnTo>
                      <a:pt x="546" y="127"/>
                    </a:lnTo>
                    <a:lnTo>
                      <a:pt x="531" y="115"/>
                    </a:lnTo>
                    <a:lnTo>
                      <a:pt x="537" y="102"/>
                    </a:lnTo>
                    <a:lnTo>
                      <a:pt x="550" y="91"/>
                    </a:lnTo>
                    <a:lnTo>
                      <a:pt x="567" y="96"/>
                    </a:lnTo>
                    <a:lnTo>
                      <a:pt x="583" y="93"/>
                    </a:lnTo>
                    <a:lnTo>
                      <a:pt x="588" y="66"/>
                    </a:lnTo>
                    <a:lnTo>
                      <a:pt x="594" y="49"/>
                    </a:lnTo>
                    <a:lnTo>
                      <a:pt x="580" y="31"/>
                    </a:lnTo>
                    <a:lnTo>
                      <a:pt x="579" y="5"/>
                    </a:lnTo>
                    <a:lnTo>
                      <a:pt x="439" y="3"/>
                    </a:lnTo>
                    <a:lnTo>
                      <a:pt x="340" y="0"/>
                    </a:lnTo>
                    <a:lnTo>
                      <a:pt x="285" y="0"/>
                    </a:lnTo>
                    <a:lnTo>
                      <a:pt x="210" y="58"/>
                    </a:lnTo>
                    <a:lnTo>
                      <a:pt x="154" y="52"/>
                    </a:lnTo>
                    <a:lnTo>
                      <a:pt x="90" y="52"/>
                    </a:lnTo>
                    <a:lnTo>
                      <a:pt x="60" y="73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8" name="Freeform 146">
                <a:extLst>
                  <a:ext uri="{FF2B5EF4-FFF2-40B4-BE49-F238E27FC236}">
                    <a16:creationId xmlns:a16="http://schemas.microsoft.com/office/drawing/2014/main" id="{6F18AB5D-C91A-4606-8501-902D1F083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848" y="2439467"/>
                <a:ext cx="889067" cy="816945"/>
              </a:xfrm>
              <a:custGeom>
                <a:avLst/>
                <a:gdLst/>
                <a:ahLst/>
                <a:cxnLst>
                  <a:cxn ang="0">
                    <a:pos x="1403" y="0"/>
                  </a:cxn>
                  <a:cxn ang="0">
                    <a:pos x="1434" y="1844"/>
                  </a:cxn>
                  <a:cxn ang="0">
                    <a:pos x="629" y="1983"/>
                  </a:cxn>
                  <a:cxn ang="0">
                    <a:pos x="322" y="1983"/>
                  </a:cxn>
                  <a:cxn ang="0">
                    <a:pos x="223" y="1957"/>
                  </a:cxn>
                  <a:cxn ang="0">
                    <a:pos x="104" y="2008"/>
                  </a:cxn>
                  <a:cxn ang="0">
                    <a:pos x="15" y="2098"/>
                  </a:cxn>
                  <a:cxn ang="0">
                    <a:pos x="42" y="2183"/>
                  </a:cxn>
                  <a:cxn ang="0">
                    <a:pos x="57" y="2258"/>
                  </a:cxn>
                  <a:cxn ang="0">
                    <a:pos x="31" y="2299"/>
                  </a:cxn>
                  <a:cxn ang="0">
                    <a:pos x="75" y="2383"/>
                  </a:cxn>
                  <a:cxn ang="0">
                    <a:pos x="126" y="2372"/>
                  </a:cxn>
                  <a:cxn ang="0">
                    <a:pos x="165" y="2440"/>
                  </a:cxn>
                  <a:cxn ang="0">
                    <a:pos x="168" y="2477"/>
                  </a:cxn>
                  <a:cxn ang="0">
                    <a:pos x="172" y="2539"/>
                  </a:cxn>
                  <a:cxn ang="0">
                    <a:pos x="165" y="2572"/>
                  </a:cxn>
                  <a:cxn ang="0">
                    <a:pos x="182" y="2705"/>
                  </a:cxn>
                  <a:cxn ang="0">
                    <a:pos x="260" y="2715"/>
                  </a:cxn>
                  <a:cxn ang="0">
                    <a:pos x="452" y="2700"/>
                  </a:cxn>
                  <a:cxn ang="0">
                    <a:pos x="624" y="2658"/>
                  </a:cxn>
                  <a:cxn ang="0">
                    <a:pos x="700" y="2825"/>
                  </a:cxn>
                  <a:cxn ang="0">
                    <a:pos x="717" y="3042"/>
                  </a:cxn>
                  <a:cxn ang="0">
                    <a:pos x="878" y="3058"/>
                  </a:cxn>
                  <a:cxn ang="0">
                    <a:pos x="1060" y="3033"/>
                  </a:cxn>
                  <a:cxn ang="0">
                    <a:pos x="1164" y="3115"/>
                  </a:cxn>
                  <a:cxn ang="0">
                    <a:pos x="1290" y="2921"/>
                  </a:cxn>
                  <a:cxn ang="0">
                    <a:pos x="1377" y="2756"/>
                  </a:cxn>
                  <a:cxn ang="0">
                    <a:pos x="1548" y="2649"/>
                  </a:cxn>
                  <a:cxn ang="0">
                    <a:pos x="1657" y="2423"/>
                  </a:cxn>
                  <a:cxn ang="0">
                    <a:pos x="1798" y="2475"/>
                  </a:cxn>
                  <a:cxn ang="0">
                    <a:pos x="1854" y="2367"/>
                  </a:cxn>
                  <a:cxn ang="0">
                    <a:pos x="1958" y="2270"/>
                  </a:cxn>
                  <a:cxn ang="0">
                    <a:pos x="2239" y="2193"/>
                  </a:cxn>
                  <a:cxn ang="0">
                    <a:pos x="2436" y="2126"/>
                  </a:cxn>
                  <a:cxn ang="0">
                    <a:pos x="2613" y="2147"/>
                  </a:cxn>
                  <a:cxn ang="0">
                    <a:pos x="3149" y="2080"/>
                  </a:cxn>
                  <a:cxn ang="0">
                    <a:pos x="3335" y="1849"/>
                  </a:cxn>
                  <a:cxn ang="0">
                    <a:pos x="3228" y="1349"/>
                  </a:cxn>
                  <a:cxn ang="0">
                    <a:pos x="3211" y="1189"/>
                  </a:cxn>
                  <a:cxn ang="0">
                    <a:pos x="3066" y="1118"/>
                  </a:cxn>
                  <a:cxn ang="0">
                    <a:pos x="2915" y="1049"/>
                  </a:cxn>
                  <a:cxn ang="0">
                    <a:pos x="2811" y="943"/>
                  </a:cxn>
                  <a:cxn ang="0">
                    <a:pos x="1722" y="17"/>
                  </a:cxn>
                </a:cxnLst>
                <a:rect l="0" t="0" r="r" b="b"/>
                <a:pathLst>
                  <a:path w="3387" h="3115">
                    <a:moveTo>
                      <a:pt x="1722" y="17"/>
                    </a:moveTo>
                    <a:lnTo>
                      <a:pt x="1403" y="0"/>
                    </a:lnTo>
                    <a:lnTo>
                      <a:pt x="1366" y="1758"/>
                    </a:lnTo>
                    <a:lnTo>
                      <a:pt x="1434" y="1844"/>
                    </a:lnTo>
                    <a:lnTo>
                      <a:pt x="1388" y="2001"/>
                    </a:lnTo>
                    <a:lnTo>
                      <a:pt x="629" y="1983"/>
                    </a:lnTo>
                    <a:lnTo>
                      <a:pt x="504" y="2008"/>
                    </a:lnTo>
                    <a:lnTo>
                      <a:pt x="322" y="1983"/>
                    </a:lnTo>
                    <a:lnTo>
                      <a:pt x="281" y="2044"/>
                    </a:lnTo>
                    <a:lnTo>
                      <a:pt x="223" y="1957"/>
                    </a:lnTo>
                    <a:lnTo>
                      <a:pt x="145" y="1937"/>
                    </a:lnTo>
                    <a:lnTo>
                      <a:pt x="104" y="2008"/>
                    </a:lnTo>
                    <a:lnTo>
                      <a:pt x="105" y="2089"/>
                    </a:lnTo>
                    <a:lnTo>
                      <a:pt x="15" y="2098"/>
                    </a:lnTo>
                    <a:lnTo>
                      <a:pt x="0" y="2140"/>
                    </a:lnTo>
                    <a:lnTo>
                      <a:pt x="42" y="2183"/>
                    </a:lnTo>
                    <a:lnTo>
                      <a:pt x="42" y="2233"/>
                    </a:lnTo>
                    <a:lnTo>
                      <a:pt x="57" y="2258"/>
                    </a:lnTo>
                    <a:lnTo>
                      <a:pt x="57" y="2282"/>
                    </a:lnTo>
                    <a:lnTo>
                      <a:pt x="31" y="2299"/>
                    </a:lnTo>
                    <a:lnTo>
                      <a:pt x="72" y="2354"/>
                    </a:lnTo>
                    <a:lnTo>
                      <a:pt x="75" y="2383"/>
                    </a:lnTo>
                    <a:lnTo>
                      <a:pt x="100" y="2368"/>
                    </a:lnTo>
                    <a:lnTo>
                      <a:pt x="126" y="2372"/>
                    </a:lnTo>
                    <a:lnTo>
                      <a:pt x="145" y="2414"/>
                    </a:lnTo>
                    <a:lnTo>
                      <a:pt x="165" y="2440"/>
                    </a:lnTo>
                    <a:lnTo>
                      <a:pt x="183" y="2458"/>
                    </a:lnTo>
                    <a:lnTo>
                      <a:pt x="168" y="2477"/>
                    </a:lnTo>
                    <a:lnTo>
                      <a:pt x="177" y="2507"/>
                    </a:lnTo>
                    <a:lnTo>
                      <a:pt x="172" y="2539"/>
                    </a:lnTo>
                    <a:lnTo>
                      <a:pt x="184" y="2563"/>
                    </a:lnTo>
                    <a:lnTo>
                      <a:pt x="165" y="2572"/>
                    </a:lnTo>
                    <a:lnTo>
                      <a:pt x="112" y="2679"/>
                    </a:lnTo>
                    <a:lnTo>
                      <a:pt x="182" y="2705"/>
                    </a:lnTo>
                    <a:lnTo>
                      <a:pt x="234" y="2669"/>
                    </a:lnTo>
                    <a:lnTo>
                      <a:pt x="260" y="2715"/>
                    </a:lnTo>
                    <a:lnTo>
                      <a:pt x="348" y="2669"/>
                    </a:lnTo>
                    <a:lnTo>
                      <a:pt x="452" y="2700"/>
                    </a:lnTo>
                    <a:lnTo>
                      <a:pt x="551" y="2633"/>
                    </a:lnTo>
                    <a:lnTo>
                      <a:pt x="624" y="2658"/>
                    </a:lnTo>
                    <a:lnTo>
                      <a:pt x="633" y="2761"/>
                    </a:lnTo>
                    <a:lnTo>
                      <a:pt x="700" y="2825"/>
                    </a:lnTo>
                    <a:lnTo>
                      <a:pt x="681" y="2936"/>
                    </a:lnTo>
                    <a:lnTo>
                      <a:pt x="717" y="3042"/>
                    </a:lnTo>
                    <a:lnTo>
                      <a:pt x="795" y="3094"/>
                    </a:lnTo>
                    <a:lnTo>
                      <a:pt x="878" y="3058"/>
                    </a:lnTo>
                    <a:lnTo>
                      <a:pt x="956" y="3110"/>
                    </a:lnTo>
                    <a:lnTo>
                      <a:pt x="1060" y="3033"/>
                    </a:lnTo>
                    <a:lnTo>
                      <a:pt x="1143" y="3017"/>
                    </a:lnTo>
                    <a:lnTo>
                      <a:pt x="1164" y="3115"/>
                    </a:lnTo>
                    <a:lnTo>
                      <a:pt x="1240" y="3066"/>
                    </a:lnTo>
                    <a:lnTo>
                      <a:pt x="1290" y="2921"/>
                    </a:lnTo>
                    <a:lnTo>
                      <a:pt x="1360" y="2868"/>
                    </a:lnTo>
                    <a:lnTo>
                      <a:pt x="1377" y="2756"/>
                    </a:lnTo>
                    <a:lnTo>
                      <a:pt x="1490" y="2705"/>
                    </a:lnTo>
                    <a:lnTo>
                      <a:pt x="1548" y="2649"/>
                    </a:lnTo>
                    <a:lnTo>
                      <a:pt x="1574" y="2515"/>
                    </a:lnTo>
                    <a:lnTo>
                      <a:pt x="1657" y="2423"/>
                    </a:lnTo>
                    <a:lnTo>
                      <a:pt x="1724" y="2505"/>
                    </a:lnTo>
                    <a:lnTo>
                      <a:pt x="1798" y="2475"/>
                    </a:lnTo>
                    <a:lnTo>
                      <a:pt x="1780" y="2388"/>
                    </a:lnTo>
                    <a:lnTo>
                      <a:pt x="1854" y="2367"/>
                    </a:lnTo>
                    <a:lnTo>
                      <a:pt x="1922" y="2341"/>
                    </a:lnTo>
                    <a:lnTo>
                      <a:pt x="1958" y="2270"/>
                    </a:lnTo>
                    <a:lnTo>
                      <a:pt x="2076" y="2195"/>
                    </a:lnTo>
                    <a:lnTo>
                      <a:pt x="2239" y="2193"/>
                    </a:lnTo>
                    <a:lnTo>
                      <a:pt x="2327" y="2116"/>
                    </a:lnTo>
                    <a:lnTo>
                      <a:pt x="2436" y="2126"/>
                    </a:lnTo>
                    <a:lnTo>
                      <a:pt x="2517" y="2147"/>
                    </a:lnTo>
                    <a:lnTo>
                      <a:pt x="2613" y="2147"/>
                    </a:lnTo>
                    <a:lnTo>
                      <a:pt x="2731" y="2080"/>
                    </a:lnTo>
                    <a:lnTo>
                      <a:pt x="3149" y="2080"/>
                    </a:lnTo>
                    <a:lnTo>
                      <a:pt x="3259" y="1997"/>
                    </a:lnTo>
                    <a:lnTo>
                      <a:pt x="3335" y="1849"/>
                    </a:lnTo>
                    <a:lnTo>
                      <a:pt x="3387" y="1296"/>
                    </a:lnTo>
                    <a:lnTo>
                      <a:pt x="3228" y="1349"/>
                    </a:lnTo>
                    <a:lnTo>
                      <a:pt x="3179" y="1301"/>
                    </a:lnTo>
                    <a:lnTo>
                      <a:pt x="3211" y="1189"/>
                    </a:lnTo>
                    <a:lnTo>
                      <a:pt x="3176" y="1132"/>
                    </a:lnTo>
                    <a:lnTo>
                      <a:pt x="3066" y="1118"/>
                    </a:lnTo>
                    <a:lnTo>
                      <a:pt x="3019" y="1055"/>
                    </a:lnTo>
                    <a:lnTo>
                      <a:pt x="2915" y="1049"/>
                    </a:lnTo>
                    <a:lnTo>
                      <a:pt x="2867" y="979"/>
                    </a:lnTo>
                    <a:lnTo>
                      <a:pt x="2811" y="943"/>
                    </a:lnTo>
                    <a:lnTo>
                      <a:pt x="2793" y="865"/>
                    </a:lnTo>
                    <a:lnTo>
                      <a:pt x="172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09" name="Freeform 147">
                <a:extLst>
                  <a:ext uri="{FF2B5EF4-FFF2-40B4-BE49-F238E27FC236}">
                    <a16:creationId xmlns:a16="http://schemas.microsoft.com/office/drawing/2014/main" id="{0A29D2F8-1152-4992-B4E5-DA327DE27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0750" y="4140233"/>
                <a:ext cx="688437" cy="664833"/>
              </a:xfrm>
              <a:custGeom>
                <a:avLst/>
                <a:gdLst/>
                <a:ahLst/>
                <a:cxnLst>
                  <a:cxn ang="0">
                    <a:pos x="113" y="83"/>
                  </a:cxn>
                  <a:cxn ang="0">
                    <a:pos x="240" y="263"/>
                  </a:cxn>
                  <a:cxn ang="0">
                    <a:pos x="263" y="383"/>
                  </a:cxn>
                  <a:cxn ang="0">
                    <a:pos x="353" y="631"/>
                  </a:cxn>
                  <a:cxn ang="0">
                    <a:pos x="330" y="788"/>
                  </a:cxn>
                  <a:cxn ang="0">
                    <a:pos x="330" y="938"/>
                  </a:cxn>
                  <a:cxn ang="0">
                    <a:pos x="458" y="1148"/>
                  </a:cxn>
                  <a:cxn ang="0">
                    <a:pos x="488" y="1276"/>
                  </a:cxn>
                  <a:cxn ang="0">
                    <a:pos x="480" y="1418"/>
                  </a:cxn>
                  <a:cxn ang="0">
                    <a:pos x="435" y="1591"/>
                  </a:cxn>
                  <a:cxn ang="0">
                    <a:pos x="293" y="1681"/>
                  </a:cxn>
                  <a:cxn ang="0">
                    <a:pos x="210" y="1831"/>
                  </a:cxn>
                  <a:cxn ang="0">
                    <a:pos x="203" y="1936"/>
                  </a:cxn>
                  <a:cxn ang="0">
                    <a:pos x="113" y="2048"/>
                  </a:cxn>
                  <a:cxn ang="0">
                    <a:pos x="135" y="2176"/>
                  </a:cxn>
                  <a:cxn ang="0">
                    <a:pos x="75" y="2266"/>
                  </a:cxn>
                  <a:cxn ang="0">
                    <a:pos x="90" y="2378"/>
                  </a:cxn>
                  <a:cxn ang="0">
                    <a:pos x="0" y="2446"/>
                  </a:cxn>
                  <a:cxn ang="0">
                    <a:pos x="30" y="2588"/>
                  </a:cxn>
                  <a:cxn ang="0">
                    <a:pos x="23" y="2761"/>
                  </a:cxn>
                  <a:cxn ang="0">
                    <a:pos x="195" y="2783"/>
                  </a:cxn>
                  <a:cxn ang="0">
                    <a:pos x="315" y="2716"/>
                  </a:cxn>
                  <a:cxn ang="0">
                    <a:pos x="435" y="2731"/>
                  </a:cxn>
                  <a:cxn ang="0">
                    <a:pos x="578" y="2828"/>
                  </a:cxn>
                  <a:cxn ang="0">
                    <a:pos x="690" y="2806"/>
                  </a:cxn>
                  <a:cxn ang="0">
                    <a:pos x="974" y="2800"/>
                  </a:cxn>
                  <a:cxn ang="0">
                    <a:pos x="1568" y="2791"/>
                  </a:cxn>
                  <a:cxn ang="0">
                    <a:pos x="1688" y="2896"/>
                  </a:cxn>
                  <a:cxn ang="0">
                    <a:pos x="1938" y="2913"/>
                  </a:cxn>
                  <a:cxn ang="0">
                    <a:pos x="2221" y="2971"/>
                  </a:cxn>
                  <a:cxn ang="0">
                    <a:pos x="2792" y="2874"/>
                  </a:cxn>
                  <a:cxn ang="0">
                    <a:pos x="2678" y="2768"/>
                  </a:cxn>
                  <a:cxn ang="0">
                    <a:pos x="2448" y="2517"/>
                  </a:cxn>
                  <a:cxn ang="0">
                    <a:pos x="2453" y="1741"/>
                  </a:cxn>
                  <a:cxn ang="0">
                    <a:pos x="2910" y="1756"/>
                  </a:cxn>
                  <a:cxn ang="0">
                    <a:pos x="2933" y="1508"/>
                  </a:cxn>
                  <a:cxn ang="0">
                    <a:pos x="3030" y="1358"/>
                  </a:cxn>
                  <a:cxn ang="0">
                    <a:pos x="2960" y="1213"/>
                  </a:cxn>
                  <a:cxn ang="0">
                    <a:pos x="2873" y="1274"/>
                  </a:cxn>
                  <a:cxn ang="0">
                    <a:pos x="2774" y="1238"/>
                  </a:cxn>
                  <a:cxn ang="0">
                    <a:pos x="2505" y="1327"/>
                  </a:cxn>
                  <a:cxn ang="0">
                    <a:pos x="2513" y="1031"/>
                  </a:cxn>
                  <a:cxn ang="0">
                    <a:pos x="2391" y="871"/>
                  </a:cxn>
                  <a:cxn ang="0">
                    <a:pos x="2438" y="682"/>
                  </a:cxn>
                  <a:cxn ang="0">
                    <a:pos x="2393" y="529"/>
                  </a:cxn>
                  <a:cxn ang="0">
                    <a:pos x="2406" y="344"/>
                  </a:cxn>
                  <a:cxn ang="0">
                    <a:pos x="2123" y="368"/>
                  </a:cxn>
                  <a:cxn ang="0">
                    <a:pos x="2130" y="258"/>
                  </a:cxn>
                  <a:cxn ang="0">
                    <a:pos x="1950" y="268"/>
                  </a:cxn>
                  <a:cxn ang="0">
                    <a:pos x="1838" y="336"/>
                  </a:cxn>
                  <a:cxn ang="0">
                    <a:pos x="1795" y="421"/>
                  </a:cxn>
                  <a:cxn ang="0">
                    <a:pos x="1768" y="533"/>
                  </a:cxn>
                  <a:cxn ang="0">
                    <a:pos x="1620" y="518"/>
                  </a:cxn>
                  <a:cxn ang="0">
                    <a:pos x="1415" y="563"/>
                  </a:cxn>
                  <a:cxn ang="0">
                    <a:pos x="1318" y="451"/>
                  </a:cxn>
                  <a:cxn ang="0">
                    <a:pos x="1200" y="248"/>
                  </a:cxn>
                  <a:cxn ang="0">
                    <a:pos x="1125" y="0"/>
                  </a:cxn>
                  <a:cxn ang="0">
                    <a:pos x="690" y="21"/>
                  </a:cxn>
                  <a:cxn ang="0">
                    <a:pos x="290" y="30"/>
                  </a:cxn>
                  <a:cxn ang="0">
                    <a:pos x="113" y="83"/>
                  </a:cxn>
                </a:cxnLst>
                <a:rect l="0" t="0" r="r" b="b"/>
                <a:pathLst>
                  <a:path w="3030" h="2971">
                    <a:moveTo>
                      <a:pt x="113" y="83"/>
                    </a:moveTo>
                    <a:lnTo>
                      <a:pt x="240" y="263"/>
                    </a:lnTo>
                    <a:lnTo>
                      <a:pt x="263" y="383"/>
                    </a:lnTo>
                    <a:lnTo>
                      <a:pt x="353" y="631"/>
                    </a:lnTo>
                    <a:lnTo>
                      <a:pt x="330" y="788"/>
                    </a:lnTo>
                    <a:lnTo>
                      <a:pt x="330" y="938"/>
                    </a:lnTo>
                    <a:lnTo>
                      <a:pt x="458" y="1148"/>
                    </a:lnTo>
                    <a:lnTo>
                      <a:pt x="488" y="1276"/>
                    </a:lnTo>
                    <a:lnTo>
                      <a:pt x="480" y="1418"/>
                    </a:lnTo>
                    <a:lnTo>
                      <a:pt x="435" y="1591"/>
                    </a:lnTo>
                    <a:lnTo>
                      <a:pt x="293" y="1681"/>
                    </a:lnTo>
                    <a:lnTo>
                      <a:pt x="210" y="1831"/>
                    </a:lnTo>
                    <a:lnTo>
                      <a:pt x="203" y="1936"/>
                    </a:lnTo>
                    <a:lnTo>
                      <a:pt x="113" y="2048"/>
                    </a:lnTo>
                    <a:lnTo>
                      <a:pt x="135" y="2176"/>
                    </a:lnTo>
                    <a:lnTo>
                      <a:pt x="75" y="2266"/>
                    </a:lnTo>
                    <a:lnTo>
                      <a:pt x="90" y="2378"/>
                    </a:lnTo>
                    <a:lnTo>
                      <a:pt x="0" y="2446"/>
                    </a:lnTo>
                    <a:lnTo>
                      <a:pt x="30" y="2588"/>
                    </a:lnTo>
                    <a:lnTo>
                      <a:pt x="23" y="2761"/>
                    </a:lnTo>
                    <a:lnTo>
                      <a:pt x="195" y="2783"/>
                    </a:lnTo>
                    <a:lnTo>
                      <a:pt x="315" y="2716"/>
                    </a:lnTo>
                    <a:lnTo>
                      <a:pt x="435" y="2731"/>
                    </a:lnTo>
                    <a:lnTo>
                      <a:pt x="578" y="2828"/>
                    </a:lnTo>
                    <a:lnTo>
                      <a:pt x="690" y="2806"/>
                    </a:lnTo>
                    <a:lnTo>
                      <a:pt x="974" y="2800"/>
                    </a:lnTo>
                    <a:lnTo>
                      <a:pt x="1568" y="2791"/>
                    </a:lnTo>
                    <a:lnTo>
                      <a:pt x="1688" y="2896"/>
                    </a:lnTo>
                    <a:lnTo>
                      <a:pt x="1938" y="2913"/>
                    </a:lnTo>
                    <a:lnTo>
                      <a:pt x="2221" y="2971"/>
                    </a:lnTo>
                    <a:lnTo>
                      <a:pt x="2792" y="2874"/>
                    </a:lnTo>
                    <a:lnTo>
                      <a:pt x="2678" y="2768"/>
                    </a:lnTo>
                    <a:lnTo>
                      <a:pt x="2448" y="2517"/>
                    </a:lnTo>
                    <a:lnTo>
                      <a:pt x="2453" y="1741"/>
                    </a:lnTo>
                    <a:lnTo>
                      <a:pt x="2910" y="1756"/>
                    </a:lnTo>
                    <a:lnTo>
                      <a:pt x="2933" y="1508"/>
                    </a:lnTo>
                    <a:lnTo>
                      <a:pt x="3030" y="1358"/>
                    </a:lnTo>
                    <a:lnTo>
                      <a:pt x="2960" y="1213"/>
                    </a:lnTo>
                    <a:lnTo>
                      <a:pt x="2873" y="1274"/>
                    </a:lnTo>
                    <a:lnTo>
                      <a:pt x="2774" y="1238"/>
                    </a:lnTo>
                    <a:lnTo>
                      <a:pt x="2505" y="1327"/>
                    </a:lnTo>
                    <a:lnTo>
                      <a:pt x="2513" y="1031"/>
                    </a:lnTo>
                    <a:lnTo>
                      <a:pt x="2391" y="871"/>
                    </a:lnTo>
                    <a:lnTo>
                      <a:pt x="2438" y="682"/>
                    </a:lnTo>
                    <a:lnTo>
                      <a:pt x="2393" y="529"/>
                    </a:lnTo>
                    <a:lnTo>
                      <a:pt x="2406" y="344"/>
                    </a:lnTo>
                    <a:lnTo>
                      <a:pt x="2123" y="368"/>
                    </a:lnTo>
                    <a:lnTo>
                      <a:pt x="2130" y="258"/>
                    </a:lnTo>
                    <a:lnTo>
                      <a:pt x="1950" y="268"/>
                    </a:lnTo>
                    <a:lnTo>
                      <a:pt x="1838" y="336"/>
                    </a:lnTo>
                    <a:lnTo>
                      <a:pt x="1795" y="421"/>
                    </a:lnTo>
                    <a:lnTo>
                      <a:pt x="1768" y="533"/>
                    </a:lnTo>
                    <a:lnTo>
                      <a:pt x="1620" y="518"/>
                    </a:lnTo>
                    <a:lnTo>
                      <a:pt x="1415" y="563"/>
                    </a:lnTo>
                    <a:lnTo>
                      <a:pt x="1318" y="451"/>
                    </a:lnTo>
                    <a:lnTo>
                      <a:pt x="1200" y="248"/>
                    </a:lnTo>
                    <a:lnTo>
                      <a:pt x="1125" y="0"/>
                    </a:lnTo>
                    <a:lnTo>
                      <a:pt x="690" y="21"/>
                    </a:lnTo>
                    <a:lnTo>
                      <a:pt x="290" y="30"/>
                    </a:lnTo>
                    <a:lnTo>
                      <a:pt x="113" y="8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0" name="Freeform 148">
                <a:extLst>
                  <a:ext uri="{FF2B5EF4-FFF2-40B4-BE49-F238E27FC236}">
                    <a16:creationId xmlns:a16="http://schemas.microsoft.com/office/drawing/2014/main" id="{51FC8ED0-1442-44D1-94E9-0120E2C58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307" y="4061555"/>
                <a:ext cx="60320" cy="81301"/>
              </a:xfrm>
              <a:custGeom>
                <a:avLst/>
                <a:gdLst/>
                <a:ahLst/>
                <a:cxnLst>
                  <a:cxn ang="0">
                    <a:pos x="14" y="122"/>
                  </a:cxn>
                  <a:cxn ang="0">
                    <a:pos x="0" y="143"/>
                  </a:cxn>
                  <a:cxn ang="0">
                    <a:pos x="19" y="161"/>
                  </a:cxn>
                  <a:cxn ang="0">
                    <a:pos x="35" y="176"/>
                  </a:cxn>
                  <a:cxn ang="0">
                    <a:pos x="41" y="190"/>
                  </a:cxn>
                  <a:cxn ang="0">
                    <a:pos x="41" y="211"/>
                  </a:cxn>
                  <a:cxn ang="0">
                    <a:pos x="37" y="240"/>
                  </a:cxn>
                  <a:cxn ang="0">
                    <a:pos x="33" y="263"/>
                  </a:cxn>
                  <a:cxn ang="0">
                    <a:pos x="37" y="285"/>
                  </a:cxn>
                  <a:cxn ang="0">
                    <a:pos x="35" y="309"/>
                  </a:cxn>
                  <a:cxn ang="0">
                    <a:pos x="68" y="294"/>
                  </a:cxn>
                  <a:cxn ang="0">
                    <a:pos x="89" y="294"/>
                  </a:cxn>
                  <a:cxn ang="0">
                    <a:pos x="114" y="277"/>
                  </a:cxn>
                  <a:cxn ang="0">
                    <a:pos x="120" y="254"/>
                  </a:cxn>
                  <a:cxn ang="0">
                    <a:pos x="120" y="232"/>
                  </a:cxn>
                  <a:cxn ang="0">
                    <a:pos x="120" y="217"/>
                  </a:cxn>
                  <a:cxn ang="0">
                    <a:pos x="120" y="192"/>
                  </a:cxn>
                  <a:cxn ang="0">
                    <a:pos x="122" y="163"/>
                  </a:cxn>
                  <a:cxn ang="0">
                    <a:pos x="110" y="153"/>
                  </a:cxn>
                  <a:cxn ang="0">
                    <a:pos x="114" y="137"/>
                  </a:cxn>
                  <a:cxn ang="0">
                    <a:pos x="130" y="120"/>
                  </a:cxn>
                  <a:cxn ang="0">
                    <a:pos x="147" y="112"/>
                  </a:cxn>
                  <a:cxn ang="0">
                    <a:pos x="159" y="97"/>
                  </a:cxn>
                  <a:cxn ang="0">
                    <a:pos x="165" y="83"/>
                  </a:cxn>
                  <a:cxn ang="0">
                    <a:pos x="178" y="66"/>
                  </a:cxn>
                  <a:cxn ang="0">
                    <a:pos x="192" y="64"/>
                  </a:cxn>
                  <a:cxn ang="0">
                    <a:pos x="207" y="64"/>
                  </a:cxn>
                  <a:cxn ang="0">
                    <a:pos x="230" y="56"/>
                  </a:cxn>
                  <a:cxn ang="0">
                    <a:pos x="200" y="35"/>
                  </a:cxn>
                  <a:cxn ang="0">
                    <a:pos x="186" y="17"/>
                  </a:cxn>
                  <a:cxn ang="0">
                    <a:pos x="171" y="0"/>
                  </a:cxn>
                  <a:cxn ang="0">
                    <a:pos x="153" y="12"/>
                  </a:cxn>
                  <a:cxn ang="0">
                    <a:pos x="136" y="23"/>
                  </a:cxn>
                  <a:cxn ang="0">
                    <a:pos x="122" y="39"/>
                  </a:cxn>
                  <a:cxn ang="0">
                    <a:pos x="101" y="41"/>
                  </a:cxn>
                  <a:cxn ang="0">
                    <a:pos x="85" y="54"/>
                  </a:cxn>
                  <a:cxn ang="0">
                    <a:pos x="79" y="70"/>
                  </a:cxn>
                  <a:cxn ang="0">
                    <a:pos x="60" y="83"/>
                  </a:cxn>
                  <a:cxn ang="0">
                    <a:pos x="35" y="85"/>
                  </a:cxn>
                  <a:cxn ang="0">
                    <a:pos x="31" y="99"/>
                  </a:cxn>
                  <a:cxn ang="0">
                    <a:pos x="27" y="112"/>
                  </a:cxn>
                  <a:cxn ang="0">
                    <a:pos x="14" y="122"/>
                  </a:cxn>
                </a:cxnLst>
                <a:rect l="0" t="0" r="r" b="b"/>
                <a:pathLst>
                  <a:path w="230" h="309">
                    <a:moveTo>
                      <a:pt x="14" y="122"/>
                    </a:moveTo>
                    <a:lnTo>
                      <a:pt x="0" y="143"/>
                    </a:lnTo>
                    <a:lnTo>
                      <a:pt x="19" y="161"/>
                    </a:lnTo>
                    <a:lnTo>
                      <a:pt x="35" y="176"/>
                    </a:lnTo>
                    <a:lnTo>
                      <a:pt x="41" y="190"/>
                    </a:lnTo>
                    <a:lnTo>
                      <a:pt x="41" y="211"/>
                    </a:lnTo>
                    <a:lnTo>
                      <a:pt x="37" y="240"/>
                    </a:lnTo>
                    <a:lnTo>
                      <a:pt x="33" y="263"/>
                    </a:lnTo>
                    <a:lnTo>
                      <a:pt x="37" y="285"/>
                    </a:lnTo>
                    <a:lnTo>
                      <a:pt x="35" y="309"/>
                    </a:lnTo>
                    <a:lnTo>
                      <a:pt x="68" y="294"/>
                    </a:lnTo>
                    <a:lnTo>
                      <a:pt x="89" y="294"/>
                    </a:lnTo>
                    <a:lnTo>
                      <a:pt x="114" y="277"/>
                    </a:lnTo>
                    <a:lnTo>
                      <a:pt x="120" y="254"/>
                    </a:lnTo>
                    <a:lnTo>
                      <a:pt x="120" y="232"/>
                    </a:lnTo>
                    <a:lnTo>
                      <a:pt x="120" y="217"/>
                    </a:lnTo>
                    <a:lnTo>
                      <a:pt x="120" y="192"/>
                    </a:lnTo>
                    <a:lnTo>
                      <a:pt x="122" y="163"/>
                    </a:lnTo>
                    <a:lnTo>
                      <a:pt x="110" y="153"/>
                    </a:lnTo>
                    <a:lnTo>
                      <a:pt x="114" y="137"/>
                    </a:lnTo>
                    <a:lnTo>
                      <a:pt x="130" y="120"/>
                    </a:lnTo>
                    <a:lnTo>
                      <a:pt x="147" y="112"/>
                    </a:lnTo>
                    <a:lnTo>
                      <a:pt x="159" y="97"/>
                    </a:lnTo>
                    <a:lnTo>
                      <a:pt x="165" y="83"/>
                    </a:lnTo>
                    <a:lnTo>
                      <a:pt x="178" y="66"/>
                    </a:lnTo>
                    <a:lnTo>
                      <a:pt x="192" y="64"/>
                    </a:lnTo>
                    <a:lnTo>
                      <a:pt x="207" y="64"/>
                    </a:lnTo>
                    <a:lnTo>
                      <a:pt x="230" y="56"/>
                    </a:lnTo>
                    <a:lnTo>
                      <a:pt x="200" y="35"/>
                    </a:lnTo>
                    <a:lnTo>
                      <a:pt x="186" y="17"/>
                    </a:lnTo>
                    <a:lnTo>
                      <a:pt x="171" y="0"/>
                    </a:lnTo>
                    <a:lnTo>
                      <a:pt x="153" y="12"/>
                    </a:lnTo>
                    <a:lnTo>
                      <a:pt x="136" y="23"/>
                    </a:lnTo>
                    <a:lnTo>
                      <a:pt x="122" y="39"/>
                    </a:lnTo>
                    <a:lnTo>
                      <a:pt x="101" y="41"/>
                    </a:lnTo>
                    <a:lnTo>
                      <a:pt x="85" y="54"/>
                    </a:lnTo>
                    <a:lnTo>
                      <a:pt x="79" y="70"/>
                    </a:lnTo>
                    <a:lnTo>
                      <a:pt x="60" y="83"/>
                    </a:lnTo>
                    <a:lnTo>
                      <a:pt x="35" y="85"/>
                    </a:lnTo>
                    <a:lnTo>
                      <a:pt x="31" y="99"/>
                    </a:lnTo>
                    <a:lnTo>
                      <a:pt x="27" y="112"/>
                    </a:lnTo>
                    <a:lnTo>
                      <a:pt x="14" y="12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1" name="Freeform 149">
                <a:extLst>
                  <a:ext uri="{FF2B5EF4-FFF2-40B4-BE49-F238E27FC236}">
                    <a16:creationId xmlns:a16="http://schemas.microsoft.com/office/drawing/2014/main" id="{BA7441AE-3AEA-44D1-87BA-D8B4F24457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6486" y="3534409"/>
                <a:ext cx="1049046" cy="1018887"/>
              </a:xfrm>
              <a:custGeom>
                <a:avLst/>
                <a:gdLst/>
                <a:ahLst/>
                <a:cxnLst>
                  <a:cxn ang="0">
                    <a:pos x="54" y="2303"/>
                  </a:cxn>
                  <a:cxn ang="0">
                    <a:pos x="86" y="2173"/>
                  </a:cxn>
                  <a:cxn ang="0">
                    <a:pos x="95" y="2134"/>
                  </a:cxn>
                  <a:cxn ang="0">
                    <a:pos x="131" y="2093"/>
                  </a:cxn>
                  <a:cxn ang="0">
                    <a:pos x="192" y="2068"/>
                  </a:cxn>
                  <a:cxn ang="0">
                    <a:pos x="476" y="1996"/>
                  </a:cxn>
                  <a:cxn ang="0">
                    <a:pos x="615" y="2073"/>
                  </a:cxn>
                  <a:cxn ang="0">
                    <a:pos x="842" y="1748"/>
                  </a:cxn>
                  <a:cxn ang="0">
                    <a:pos x="1011" y="1325"/>
                  </a:cxn>
                  <a:cxn ang="0">
                    <a:pos x="1226" y="1024"/>
                  </a:cxn>
                  <a:cxn ang="0">
                    <a:pos x="1232" y="704"/>
                  </a:cxn>
                  <a:cxn ang="0">
                    <a:pos x="1335" y="358"/>
                  </a:cxn>
                  <a:cxn ang="0">
                    <a:pos x="1518" y="55"/>
                  </a:cxn>
                  <a:cxn ang="0">
                    <a:pos x="1759" y="191"/>
                  </a:cxn>
                  <a:cxn ang="0">
                    <a:pos x="2069" y="223"/>
                  </a:cxn>
                  <a:cxn ang="0">
                    <a:pos x="2369" y="166"/>
                  </a:cxn>
                  <a:cxn ang="0">
                    <a:pos x="2712" y="90"/>
                  </a:cxn>
                  <a:cxn ang="0">
                    <a:pos x="3138" y="9"/>
                  </a:cxn>
                  <a:cxn ang="0">
                    <a:pos x="3517" y="173"/>
                  </a:cxn>
                  <a:cxn ang="0">
                    <a:pos x="3839" y="306"/>
                  </a:cxn>
                  <a:cxn ang="0">
                    <a:pos x="3921" y="576"/>
                  </a:cxn>
                  <a:cxn ang="0">
                    <a:pos x="3877" y="829"/>
                  </a:cxn>
                  <a:cxn ang="0">
                    <a:pos x="3648" y="1203"/>
                  </a:cxn>
                  <a:cxn ang="0">
                    <a:pos x="3596" y="1459"/>
                  </a:cxn>
                  <a:cxn ang="0">
                    <a:pos x="3582" y="1893"/>
                  </a:cxn>
                  <a:cxn ang="0">
                    <a:pos x="3544" y="2183"/>
                  </a:cxn>
                  <a:cxn ang="0">
                    <a:pos x="3603" y="2470"/>
                  </a:cxn>
                  <a:cxn ang="0">
                    <a:pos x="3772" y="2707"/>
                  </a:cxn>
                  <a:cxn ang="0">
                    <a:pos x="3525" y="2861"/>
                  </a:cxn>
                  <a:cxn ang="0">
                    <a:pos x="3466" y="3143"/>
                  </a:cxn>
                  <a:cxn ang="0">
                    <a:pos x="3385" y="3490"/>
                  </a:cxn>
                  <a:cxn ang="0">
                    <a:pos x="3679" y="3635"/>
                  </a:cxn>
                  <a:cxn ang="0">
                    <a:pos x="3388" y="3680"/>
                  </a:cxn>
                  <a:cxn ang="0">
                    <a:pos x="3045" y="3565"/>
                  </a:cxn>
                  <a:cxn ang="0">
                    <a:pos x="2674" y="3450"/>
                  </a:cxn>
                  <a:cxn ang="0">
                    <a:pos x="2427" y="3399"/>
                  </a:cxn>
                  <a:cxn ang="0">
                    <a:pos x="2109" y="3441"/>
                  </a:cxn>
                  <a:cxn ang="0">
                    <a:pos x="2050" y="2887"/>
                  </a:cxn>
                  <a:cxn ang="0">
                    <a:pos x="1778" y="2624"/>
                  </a:cxn>
                  <a:cxn ang="0">
                    <a:pos x="1531" y="2598"/>
                  </a:cxn>
                  <a:cxn ang="0">
                    <a:pos x="1343" y="2752"/>
                  </a:cxn>
                  <a:cxn ang="0">
                    <a:pos x="980" y="2521"/>
                  </a:cxn>
                  <a:cxn ang="0">
                    <a:pos x="187" y="2336"/>
                  </a:cxn>
                </a:cxnLst>
                <a:rect l="0" t="0" r="r" b="b"/>
                <a:pathLst>
                  <a:path w="3999" h="3885">
                    <a:moveTo>
                      <a:pt x="0" y="2318"/>
                    </a:moveTo>
                    <a:lnTo>
                      <a:pt x="30" y="2308"/>
                    </a:lnTo>
                    <a:lnTo>
                      <a:pt x="54" y="2303"/>
                    </a:lnTo>
                    <a:lnTo>
                      <a:pt x="78" y="2293"/>
                    </a:lnTo>
                    <a:lnTo>
                      <a:pt x="83" y="2266"/>
                    </a:lnTo>
                    <a:lnTo>
                      <a:pt x="86" y="2173"/>
                    </a:lnTo>
                    <a:lnTo>
                      <a:pt x="77" y="2167"/>
                    </a:lnTo>
                    <a:lnTo>
                      <a:pt x="78" y="2147"/>
                    </a:lnTo>
                    <a:lnTo>
                      <a:pt x="95" y="2134"/>
                    </a:lnTo>
                    <a:lnTo>
                      <a:pt x="113" y="2122"/>
                    </a:lnTo>
                    <a:lnTo>
                      <a:pt x="123" y="2107"/>
                    </a:lnTo>
                    <a:lnTo>
                      <a:pt x="131" y="2093"/>
                    </a:lnTo>
                    <a:lnTo>
                      <a:pt x="143" y="2078"/>
                    </a:lnTo>
                    <a:lnTo>
                      <a:pt x="168" y="2074"/>
                    </a:lnTo>
                    <a:lnTo>
                      <a:pt x="192" y="2068"/>
                    </a:lnTo>
                    <a:lnTo>
                      <a:pt x="258" y="2112"/>
                    </a:lnTo>
                    <a:lnTo>
                      <a:pt x="362" y="2022"/>
                    </a:lnTo>
                    <a:lnTo>
                      <a:pt x="476" y="1996"/>
                    </a:lnTo>
                    <a:lnTo>
                      <a:pt x="462" y="2117"/>
                    </a:lnTo>
                    <a:lnTo>
                      <a:pt x="546" y="2147"/>
                    </a:lnTo>
                    <a:lnTo>
                      <a:pt x="615" y="2073"/>
                    </a:lnTo>
                    <a:lnTo>
                      <a:pt x="706" y="1971"/>
                    </a:lnTo>
                    <a:lnTo>
                      <a:pt x="803" y="1894"/>
                    </a:lnTo>
                    <a:lnTo>
                      <a:pt x="842" y="1748"/>
                    </a:lnTo>
                    <a:lnTo>
                      <a:pt x="832" y="1602"/>
                    </a:lnTo>
                    <a:lnTo>
                      <a:pt x="907" y="1479"/>
                    </a:lnTo>
                    <a:lnTo>
                      <a:pt x="1011" y="1325"/>
                    </a:lnTo>
                    <a:lnTo>
                      <a:pt x="1122" y="1261"/>
                    </a:lnTo>
                    <a:lnTo>
                      <a:pt x="1161" y="1101"/>
                    </a:lnTo>
                    <a:lnTo>
                      <a:pt x="1226" y="1024"/>
                    </a:lnTo>
                    <a:lnTo>
                      <a:pt x="1193" y="903"/>
                    </a:lnTo>
                    <a:lnTo>
                      <a:pt x="1252" y="806"/>
                    </a:lnTo>
                    <a:lnTo>
                      <a:pt x="1232" y="704"/>
                    </a:lnTo>
                    <a:lnTo>
                      <a:pt x="1289" y="596"/>
                    </a:lnTo>
                    <a:lnTo>
                      <a:pt x="1341" y="496"/>
                    </a:lnTo>
                    <a:lnTo>
                      <a:pt x="1335" y="358"/>
                    </a:lnTo>
                    <a:lnTo>
                      <a:pt x="1387" y="230"/>
                    </a:lnTo>
                    <a:lnTo>
                      <a:pt x="1421" y="120"/>
                    </a:lnTo>
                    <a:lnTo>
                      <a:pt x="1518" y="55"/>
                    </a:lnTo>
                    <a:lnTo>
                      <a:pt x="1634" y="64"/>
                    </a:lnTo>
                    <a:lnTo>
                      <a:pt x="1718" y="114"/>
                    </a:lnTo>
                    <a:lnTo>
                      <a:pt x="1759" y="191"/>
                    </a:lnTo>
                    <a:lnTo>
                      <a:pt x="1850" y="186"/>
                    </a:lnTo>
                    <a:lnTo>
                      <a:pt x="1936" y="218"/>
                    </a:lnTo>
                    <a:lnTo>
                      <a:pt x="2069" y="223"/>
                    </a:lnTo>
                    <a:lnTo>
                      <a:pt x="2158" y="248"/>
                    </a:lnTo>
                    <a:lnTo>
                      <a:pt x="2265" y="122"/>
                    </a:lnTo>
                    <a:lnTo>
                      <a:pt x="2369" y="166"/>
                    </a:lnTo>
                    <a:lnTo>
                      <a:pt x="2475" y="95"/>
                    </a:lnTo>
                    <a:lnTo>
                      <a:pt x="2588" y="38"/>
                    </a:lnTo>
                    <a:lnTo>
                      <a:pt x="2712" y="90"/>
                    </a:lnTo>
                    <a:lnTo>
                      <a:pt x="2798" y="0"/>
                    </a:lnTo>
                    <a:lnTo>
                      <a:pt x="3051" y="69"/>
                    </a:lnTo>
                    <a:lnTo>
                      <a:pt x="3138" y="9"/>
                    </a:lnTo>
                    <a:lnTo>
                      <a:pt x="3336" y="201"/>
                    </a:lnTo>
                    <a:lnTo>
                      <a:pt x="3437" y="230"/>
                    </a:lnTo>
                    <a:lnTo>
                      <a:pt x="3517" y="173"/>
                    </a:lnTo>
                    <a:lnTo>
                      <a:pt x="3601" y="218"/>
                    </a:lnTo>
                    <a:lnTo>
                      <a:pt x="3677" y="150"/>
                    </a:lnTo>
                    <a:lnTo>
                      <a:pt x="3839" y="306"/>
                    </a:lnTo>
                    <a:lnTo>
                      <a:pt x="3908" y="380"/>
                    </a:lnTo>
                    <a:lnTo>
                      <a:pt x="3928" y="480"/>
                    </a:lnTo>
                    <a:lnTo>
                      <a:pt x="3921" y="576"/>
                    </a:lnTo>
                    <a:lnTo>
                      <a:pt x="3974" y="635"/>
                    </a:lnTo>
                    <a:lnTo>
                      <a:pt x="3999" y="698"/>
                    </a:lnTo>
                    <a:lnTo>
                      <a:pt x="3877" y="829"/>
                    </a:lnTo>
                    <a:lnTo>
                      <a:pt x="3687" y="973"/>
                    </a:lnTo>
                    <a:lnTo>
                      <a:pt x="3681" y="1095"/>
                    </a:lnTo>
                    <a:lnTo>
                      <a:pt x="3648" y="1203"/>
                    </a:lnTo>
                    <a:lnTo>
                      <a:pt x="3622" y="1325"/>
                    </a:lnTo>
                    <a:lnTo>
                      <a:pt x="3679" y="1361"/>
                    </a:lnTo>
                    <a:lnTo>
                      <a:pt x="3596" y="1459"/>
                    </a:lnTo>
                    <a:lnTo>
                      <a:pt x="3551" y="1587"/>
                    </a:lnTo>
                    <a:lnTo>
                      <a:pt x="3532" y="1651"/>
                    </a:lnTo>
                    <a:lnTo>
                      <a:pt x="3582" y="1893"/>
                    </a:lnTo>
                    <a:lnTo>
                      <a:pt x="3583" y="2035"/>
                    </a:lnTo>
                    <a:lnTo>
                      <a:pt x="3538" y="2099"/>
                    </a:lnTo>
                    <a:lnTo>
                      <a:pt x="3544" y="2183"/>
                    </a:lnTo>
                    <a:lnTo>
                      <a:pt x="3631" y="2281"/>
                    </a:lnTo>
                    <a:lnTo>
                      <a:pt x="3570" y="2368"/>
                    </a:lnTo>
                    <a:lnTo>
                      <a:pt x="3603" y="2470"/>
                    </a:lnTo>
                    <a:lnTo>
                      <a:pt x="3679" y="2571"/>
                    </a:lnTo>
                    <a:lnTo>
                      <a:pt x="3778" y="2624"/>
                    </a:lnTo>
                    <a:lnTo>
                      <a:pt x="3772" y="2707"/>
                    </a:lnTo>
                    <a:lnTo>
                      <a:pt x="3827" y="2812"/>
                    </a:lnTo>
                    <a:lnTo>
                      <a:pt x="3707" y="2854"/>
                    </a:lnTo>
                    <a:lnTo>
                      <a:pt x="3525" y="2861"/>
                    </a:lnTo>
                    <a:lnTo>
                      <a:pt x="3486" y="2957"/>
                    </a:lnTo>
                    <a:lnTo>
                      <a:pt x="3395" y="3033"/>
                    </a:lnTo>
                    <a:lnTo>
                      <a:pt x="3466" y="3143"/>
                    </a:lnTo>
                    <a:lnTo>
                      <a:pt x="3427" y="3238"/>
                    </a:lnTo>
                    <a:lnTo>
                      <a:pt x="3453" y="3315"/>
                    </a:lnTo>
                    <a:lnTo>
                      <a:pt x="3385" y="3490"/>
                    </a:lnTo>
                    <a:lnTo>
                      <a:pt x="3434" y="3597"/>
                    </a:lnTo>
                    <a:lnTo>
                      <a:pt x="3557" y="3680"/>
                    </a:lnTo>
                    <a:lnTo>
                      <a:pt x="3679" y="3635"/>
                    </a:lnTo>
                    <a:lnTo>
                      <a:pt x="3681" y="3865"/>
                    </a:lnTo>
                    <a:lnTo>
                      <a:pt x="3538" y="3885"/>
                    </a:lnTo>
                    <a:lnTo>
                      <a:pt x="3388" y="3680"/>
                    </a:lnTo>
                    <a:lnTo>
                      <a:pt x="3220" y="3597"/>
                    </a:lnTo>
                    <a:lnTo>
                      <a:pt x="3136" y="3507"/>
                    </a:lnTo>
                    <a:lnTo>
                      <a:pt x="3045" y="3565"/>
                    </a:lnTo>
                    <a:lnTo>
                      <a:pt x="2895" y="3539"/>
                    </a:lnTo>
                    <a:lnTo>
                      <a:pt x="2759" y="3443"/>
                    </a:lnTo>
                    <a:lnTo>
                      <a:pt x="2674" y="3450"/>
                    </a:lnTo>
                    <a:lnTo>
                      <a:pt x="2564" y="3469"/>
                    </a:lnTo>
                    <a:lnTo>
                      <a:pt x="2502" y="3344"/>
                    </a:lnTo>
                    <a:lnTo>
                      <a:pt x="2427" y="3399"/>
                    </a:lnTo>
                    <a:lnTo>
                      <a:pt x="2343" y="3366"/>
                    </a:lnTo>
                    <a:lnTo>
                      <a:pt x="2257" y="3394"/>
                    </a:lnTo>
                    <a:lnTo>
                      <a:pt x="2109" y="3441"/>
                    </a:lnTo>
                    <a:lnTo>
                      <a:pt x="2115" y="3187"/>
                    </a:lnTo>
                    <a:lnTo>
                      <a:pt x="2011" y="3054"/>
                    </a:lnTo>
                    <a:lnTo>
                      <a:pt x="2050" y="2887"/>
                    </a:lnTo>
                    <a:lnTo>
                      <a:pt x="2011" y="2759"/>
                    </a:lnTo>
                    <a:lnTo>
                      <a:pt x="2024" y="2605"/>
                    </a:lnTo>
                    <a:lnTo>
                      <a:pt x="1778" y="2624"/>
                    </a:lnTo>
                    <a:lnTo>
                      <a:pt x="1785" y="2528"/>
                    </a:lnTo>
                    <a:lnTo>
                      <a:pt x="1629" y="2541"/>
                    </a:lnTo>
                    <a:lnTo>
                      <a:pt x="1531" y="2598"/>
                    </a:lnTo>
                    <a:lnTo>
                      <a:pt x="1492" y="2669"/>
                    </a:lnTo>
                    <a:lnTo>
                      <a:pt x="1470" y="2764"/>
                    </a:lnTo>
                    <a:lnTo>
                      <a:pt x="1343" y="2752"/>
                    </a:lnTo>
                    <a:lnTo>
                      <a:pt x="1167" y="2790"/>
                    </a:lnTo>
                    <a:lnTo>
                      <a:pt x="1076" y="2688"/>
                    </a:lnTo>
                    <a:lnTo>
                      <a:pt x="980" y="2521"/>
                    </a:lnTo>
                    <a:lnTo>
                      <a:pt x="914" y="2311"/>
                    </a:lnTo>
                    <a:lnTo>
                      <a:pt x="538" y="2329"/>
                    </a:lnTo>
                    <a:lnTo>
                      <a:pt x="187" y="2336"/>
                    </a:lnTo>
                    <a:lnTo>
                      <a:pt x="37" y="2381"/>
                    </a:lnTo>
                    <a:lnTo>
                      <a:pt x="0" y="231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2" name="Freeform 150">
                <a:extLst>
                  <a:ext uri="{FF2B5EF4-FFF2-40B4-BE49-F238E27FC236}">
                    <a16:creationId xmlns:a16="http://schemas.microsoft.com/office/drawing/2014/main" id="{FE76C355-91D0-40AE-9C2E-CCA4CCAD8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788" y="3628823"/>
                <a:ext cx="410440" cy="470760"/>
              </a:xfrm>
              <a:custGeom>
                <a:avLst/>
                <a:gdLst/>
                <a:ahLst/>
                <a:cxnLst>
                  <a:cxn ang="0">
                    <a:pos x="1456" y="345"/>
                  </a:cxn>
                  <a:cxn ang="0">
                    <a:pos x="1557" y="0"/>
                  </a:cxn>
                  <a:cxn ang="0">
                    <a:pos x="1319" y="0"/>
                  </a:cxn>
                  <a:cxn ang="0">
                    <a:pos x="1132" y="107"/>
                  </a:cxn>
                  <a:cxn ang="0">
                    <a:pos x="1079" y="222"/>
                  </a:cxn>
                  <a:cxn ang="0">
                    <a:pos x="721" y="320"/>
                  </a:cxn>
                  <a:cxn ang="0">
                    <a:pos x="416" y="377"/>
                  </a:cxn>
                  <a:cxn ang="0">
                    <a:pos x="485" y="493"/>
                  </a:cxn>
                  <a:cxn ang="0">
                    <a:pos x="661" y="487"/>
                  </a:cxn>
                  <a:cxn ang="0">
                    <a:pos x="672" y="636"/>
                  </a:cxn>
                  <a:cxn ang="0">
                    <a:pos x="575" y="698"/>
                  </a:cxn>
                  <a:cxn ang="0">
                    <a:pos x="689" y="877"/>
                  </a:cxn>
                  <a:cxn ang="0">
                    <a:pos x="693" y="1134"/>
                  </a:cxn>
                  <a:cxn ang="0">
                    <a:pos x="582" y="1256"/>
                  </a:cxn>
                  <a:cxn ang="0">
                    <a:pos x="409" y="1222"/>
                  </a:cxn>
                  <a:cxn ang="0">
                    <a:pos x="294" y="1109"/>
                  </a:cxn>
                  <a:cxn ang="0">
                    <a:pos x="305" y="1229"/>
                  </a:cxn>
                  <a:cxn ang="0">
                    <a:pos x="98" y="1236"/>
                  </a:cxn>
                  <a:cxn ang="0">
                    <a:pos x="167" y="1461"/>
                  </a:cxn>
                  <a:cxn ang="0">
                    <a:pos x="49" y="1488"/>
                  </a:cxn>
                  <a:cxn ang="0">
                    <a:pos x="98" y="1672"/>
                  </a:cxn>
                  <a:cxn ang="0">
                    <a:pos x="188" y="1796"/>
                  </a:cxn>
                  <a:cxn ang="0">
                    <a:pos x="213" y="1766"/>
                  </a:cxn>
                  <a:cxn ang="0">
                    <a:pos x="243" y="1735"/>
                  </a:cxn>
                  <a:cxn ang="0">
                    <a:pos x="270" y="1708"/>
                  </a:cxn>
                  <a:cxn ang="0">
                    <a:pos x="309" y="1691"/>
                  </a:cxn>
                  <a:cxn ang="0">
                    <a:pos x="357" y="1651"/>
                  </a:cxn>
                  <a:cxn ang="0">
                    <a:pos x="416" y="1709"/>
                  </a:cxn>
                  <a:cxn ang="0">
                    <a:pos x="584" y="1661"/>
                  </a:cxn>
                  <a:cxn ang="0">
                    <a:pos x="683" y="1756"/>
                  </a:cxn>
                  <a:cxn ang="0">
                    <a:pos x="929" y="1613"/>
                  </a:cxn>
                  <a:cxn ang="0">
                    <a:pos x="1066" y="1383"/>
                  </a:cxn>
                  <a:cxn ang="0">
                    <a:pos x="1131" y="1118"/>
                  </a:cxn>
                  <a:cxn ang="0">
                    <a:pos x="1346" y="900"/>
                  </a:cxn>
                  <a:cxn ang="0">
                    <a:pos x="1450" y="663"/>
                  </a:cxn>
                  <a:cxn ang="0">
                    <a:pos x="1474" y="445"/>
                  </a:cxn>
                </a:cxnLst>
                <a:rect l="0" t="0" r="r" b="b"/>
                <a:pathLst>
                  <a:path w="1565" h="1796">
                    <a:moveTo>
                      <a:pt x="1474" y="445"/>
                    </a:moveTo>
                    <a:lnTo>
                      <a:pt x="1456" y="345"/>
                    </a:lnTo>
                    <a:lnTo>
                      <a:pt x="1565" y="131"/>
                    </a:lnTo>
                    <a:lnTo>
                      <a:pt x="1557" y="0"/>
                    </a:lnTo>
                    <a:lnTo>
                      <a:pt x="1466" y="6"/>
                    </a:lnTo>
                    <a:lnTo>
                      <a:pt x="1319" y="0"/>
                    </a:lnTo>
                    <a:lnTo>
                      <a:pt x="1162" y="18"/>
                    </a:lnTo>
                    <a:lnTo>
                      <a:pt x="1132" y="107"/>
                    </a:lnTo>
                    <a:lnTo>
                      <a:pt x="1136" y="187"/>
                    </a:lnTo>
                    <a:lnTo>
                      <a:pt x="1079" y="222"/>
                    </a:lnTo>
                    <a:lnTo>
                      <a:pt x="1054" y="371"/>
                    </a:lnTo>
                    <a:lnTo>
                      <a:pt x="721" y="320"/>
                    </a:lnTo>
                    <a:lnTo>
                      <a:pt x="473" y="289"/>
                    </a:lnTo>
                    <a:lnTo>
                      <a:pt x="416" y="377"/>
                    </a:lnTo>
                    <a:lnTo>
                      <a:pt x="423" y="439"/>
                    </a:lnTo>
                    <a:lnTo>
                      <a:pt x="485" y="493"/>
                    </a:lnTo>
                    <a:lnTo>
                      <a:pt x="575" y="452"/>
                    </a:lnTo>
                    <a:lnTo>
                      <a:pt x="661" y="487"/>
                    </a:lnTo>
                    <a:lnTo>
                      <a:pt x="706" y="568"/>
                    </a:lnTo>
                    <a:lnTo>
                      <a:pt x="672" y="636"/>
                    </a:lnTo>
                    <a:lnTo>
                      <a:pt x="589" y="643"/>
                    </a:lnTo>
                    <a:lnTo>
                      <a:pt x="575" y="698"/>
                    </a:lnTo>
                    <a:lnTo>
                      <a:pt x="589" y="786"/>
                    </a:lnTo>
                    <a:lnTo>
                      <a:pt x="689" y="877"/>
                    </a:lnTo>
                    <a:lnTo>
                      <a:pt x="699" y="1011"/>
                    </a:lnTo>
                    <a:lnTo>
                      <a:pt x="693" y="1134"/>
                    </a:lnTo>
                    <a:lnTo>
                      <a:pt x="658" y="1229"/>
                    </a:lnTo>
                    <a:lnTo>
                      <a:pt x="582" y="1256"/>
                    </a:lnTo>
                    <a:lnTo>
                      <a:pt x="492" y="1270"/>
                    </a:lnTo>
                    <a:lnTo>
                      <a:pt x="409" y="1222"/>
                    </a:lnTo>
                    <a:lnTo>
                      <a:pt x="381" y="1141"/>
                    </a:lnTo>
                    <a:lnTo>
                      <a:pt x="294" y="1109"/>
                    </a:lnTo>
                    <a:lnTo>
                      <a:pt x="264" y="1161"/>
                    </a:lnTo>
                    <a:lnTo>
                      <a:pt x="305" y="1229"/>
                    </a:lnTo>
                    <a:lnTo>
                      <a:pt x="208" y="1243"/>
                    </a:lnTo>
                    <a:lnTo>
                      <a:pt x="98" y="1236"/>
                    </a:lnTo>
                    <a:lnTo>
                      <a:pt x="118" y="1386"/>
                    </a:lnTo>
                    <a:lnTo>
                      <a:pt x="167" y="1461"/>
                    </a:lnTo>
                    <a:lnTo>
                      <a:pt x="132" y="1529"/>
                    </a:lnTo>
                    <a:lnTo>
                      <a:pt x="49" y="1488"/>
                    </a:lnTo>
                    <a:lnTo>
                      <a:pt x="0" y="1544"/>
                    </a:lnTo>
                    <a:lnTo>
                      <a:pt x="98" y="1672"/>
                    </a:lnTo>
                    <a:lnTo>
                      <a:pt x="174" y="1754"/>
                    </a:lnTo>
                    <a:lnTo>
                      <a:pt x="188" y="1796"/>
                    </a:lnTo>
                    <a:lnTo>
                      <a:pt x="200" y="1777"/>
                    </a:lnTo>
                    <a:lnTo>
                      <a:pt x="213" y="1766"/>
                    </a:lnTo>
                    <a:lnTo>
                      <a:pt x="224" y="1738"/>
                    </a:lnTo>
                    <a:lnTo>
                      <a:pt x="243" y="1735"/>
                    </a:lnTo>
                    <a:lnTo>
                      <a:pt x="264" y="1724"/>
                    </a:lnTo>
                    <a:lnTo>
                      <a:pt x="270" y="1708"/>
                    </a:lnTo>
                    <a:lnTo>
                      <a:pt x="287" y="1693"/>
                    </a:lnTo>
                    <a:lnTo>
                      <a:pt x="309" y="1691"/>
                    </a:lnTo>
                    <a:lnTo>
                      <a:pt x="323" y="1675"/>
                    </a:lnTo>
                    <a:lnTo>
                      <a:pt x="357" y="1651"/>
                    </a:lnTo>
                    <a:lnTo>
                      <a:pt x="386" y="1685"/>
                    </a:lnTo>
                    <a:lnTo>
                      <a:pt x="416" y="1709"/>
                    </a:lnTo>
                    <a:lnTo>
                      <a:pt x="482" y="1751"/>
                    </a:lnTo>
                    <a:lnTo>
                      <a:pt x="584" y="1661"/>
                    </a:lnTo>
                    <a:lnTo>
                      <a:pt x="699" y="1634"/>
                    </a:lnTo>
                    <a:lnTo>
                      <a:pt x="683" y="1756"/>
                    </a:lnTo>
                    <a:lnTo>
                      <a:pt x="768" y="1787"/>
                    </a:lnTo>
                    <a:lnTo>
                      <a:pt x="929" y="1613"/>
                    </a:lnTo>
                    <a:lnTo>
                      <a:pt x="1027" y="1533"/>
                    </a:lnTo>
                    <a:lnTo>
                      <a:pt x="1066" y="1383"/>
                    </a:lnTo>
                    <a:lnTo>
                      <a:pt x="1057" y="1240"/>
                    </a:lnTo>
                    <a:lnTo>
                      <a:pt x="1131" y="1118"/>
                    </a:lnTo>
                    <a:lnTo>
                      <a:pt x="1235" y="963"/>
                    </a:lnTo>
                    <a:lnTo>
                      <a:pt x="1346" y="900"/>
                    </a:lnTo>
                    <a:lnTo>
                      <a:pt x="1385" y="741"/>
                    </a:lnTo>
                    <a:lnTo>
                      <a:pt x="1450" y="663"/>
                    </a:lnTo>
                    <a:lnTo>
                      <a:pt x="1416" y="543"/>
                    </a:lnTo>
                    <a:lnTo>
                      <a:pt x="1474" y="4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3" name="Freeform 151">
                <a:extLst>
                  <a:ext uri="{FF2B5EF4-FFF2-40B4-BE49-F238E27FC236}">
                    <a16:creationId xmlns:a16="http://schemas.microsoft.com/office/drawing/2014/main" id="{74B20D2A-22C8-4FDF-82A0-221E7C1061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3451" y="3160686"/>
                <a:ext cx="645164" cy="472071"/>
              </a:xfrm>
              <a:custGeom>
                <a:avLst/>
                <a:gdLst/>
                <a:ahLst/>
                <a:cxnLst>
                  <a:cxn ang="0">
                    <a:pos x="27" y="832"/>
                  </a:cxn>
                  <a:cxn ang="0">
                    <a:pos x="242" y="919"/>
                  </a:cxn>
                  <a:cxn ang="0">
                    <a:pos x="381" y="1071"/>
                  </a:cxn>
                  <a:cxn ang="0">
                    <a:pos x="474" y="1242"/>
                  </a:cxn>
                  <a:cxn ang="0">
                    <a:pos x="630" y="1431"/>
                  </a:cxn>
                  <a:cxn ang="0">
                    <a:pos x="929" y="1650"/>
                  </a:cxn>
                  <a:cxn ang="0">
                    <a:pos x="1098" y="1638"/>
                  </a:cxn>
                  <a:cxn ang="0">
                    <a:pos x="1311" y="1705"/>
                  </a:cxn>
                  <a:cxn ang="0">
                    <a:pos x="1512" y="1741"/>
                  </a:cxn>
                  <a:cxn ang="0">
                    <a:pos x="2039" y="1725"/>
                  </a:cxn>
                  <a:cxn ang="0">
                    <a:pos x="2151" y="1581"/>
                  </a:cxn>
                  <a:cxn ang="0">
                    <a:pos x="2457" y="1428"/>
                  </a:cxn>
                  <a:cxn ang="0">
                    <a:pos x="2315" y="1339"/>
                  </a:cxn>
                  <a:cxn ang="0">
                    <a:pos x="2156" y="1080"/>
                  </a:cxn>
                  <a:cxn ang="0">
                    <a:pos x="1895" y="870"/>
                  </a:cxn>
                  <a:cxn ang="0">
                    <a:pos x="1982" y="756"/>
                  </a:cxn>
                  <a:cxn ang="0">
                    <a:pos x="2099" y="691"/>
                  </a:cxn>
                  <a:cxn ang="0">
                    <a:pos x="2002" y="544"/>
                  </a:cxn>
                  <a:cxn ang="0">
                    <a:pos x="1978" y="392"/>
                  </a:cxn>
                  <a:cxn ang="0">
                    <a:pos x="1834" y="288"/>
                  </a:cxn>
                  <a:cxn ang="0">
                    <a:pos x="1850" y="104"/>
                  </a:cxn>
                  <a:cxn ang="0">
                    <a:pos x="1786" y="0"/>
                  </a:cxn>
                  <a:cxn ang="0">
                    <a:pos x="1690" y="88"/>
                  </a:cxn>
                  <a:cxn ang="0">
                    <a:pos x="1690" y="192"/>
                  </a:cxn>
                  <a:cxn ang="0">
                    <a:pos x="1650" y="296"/>
                  </a:cxn>
                  <a:cxn ang="0">
                    <a:pos x="1562" y="424"/>
                  </a:cxn>
                  <a:cxn ang="0">
                    <a:pos x="1418" y="496"/>
                  </a:cxn>
                  <a:cxn ang="0">
                    <a:pos x="1266" y="440"/>
                  </a:cxn>
                  <a:cxn ang="0">
                    <a:pos x="1114" y="448"/>
                  </a:cxn>
                  <a:cxn ang="0">
                    <a:pos x="1002" y="536"/>
                  </a:cxn>
                  <a:cxn ang="0">
                    <a:pos x="874" y="584"/>
                  </a:cxn>
                  <a:cxn ang="0">
                    <a:pos x="738" y="512"/>
                  </a:cxn>
                  <a:cxn ang="0">
                    <a:pos x="554" y="544"/>
                  </a:cxn>
                  <a:cxn ang="0">
                    <a:pos x="442" y="480"/>
                  </a:cxn>
                  <a:cxn ang="0">
                    <a:pos x="402" y="384"/>
                  </a:cxn>
                  <a:cxn ang="0">
                    <a:pos x="250" y="384"/>
                  </a:cxn>
                  <a:cxn ang="0">
                    <a:pos x="178" y="496"/>
                  </a:cxn>
                  <a:cxn ang="0">
                    <a:pos x="114" y="616"/>
                  </a:cxn>
                  <a:cxn ang="0">
                    <a:pos x="82" y="720"/>
                  </a:cxn>
                </a:cxnLst>
                <a:rect l="0" t="0" r="r" b="b"/>
                <a:pathLst>
                  <a:path w="2457" h="1798">
                    <a:moveTo>
                      <a:pt x="0" y="738"/>
                    </a:moveTo>
                    <a:lnTo>
                      <a:pt x="27" y="832"/>
                    </a:lnTo>
                    <a:lnTo>
                      <a:pt x="161" y="832"/>
                    </a:lnTo>
                    <a:lnTo>
                      <a:pt x="242" y="919"/>
                    </a:lnTo>
                    <a:lnTo>
                      <a:pt x="245" y="1018"/>
                    </a:lnTo>
                    <a:lnTo>
                      <a:pt x="381" y="1071"/>
                    </a:lnTo>
                    <a:lnTo>
                      <a:pt x="468" y="1146"/>
                    </a:lnTo>
                    <a:lnTo>
                      <a:pt x="474" y="1242"/>
                    </a:lnTo>
                    <a:lnTo>
                      <a:pt x="648" y="1336"/>
                    </a:lnTo>
                    <a:lnTo>
                      <a:pt x="630" y="1431"/>
                    </a:lnTo>
                    <a:lnTo>
                      <a:pt x="828" y="1623"/>
                    </a:lnTo>
                    <a:lnTo>
                      <a:pt x="929" y="1650"/>
                    </a:lnTo>
                    <a:lnTo>
                      <a:pt x="1008" y="1596"/>
                    </a:lnTo>
                    <a:lnTo>
                      <a:pt x="1098" y="1638"/>
                    </a:lnTo>
                    <a:lnTo>
                      <a:pt x="1169" y="1575"/>
                    </a:lnTo>
                    <a:lnTo>
                      <a:pt x="1311" y="1705"/>
                    </a:lnTo>
                    <a:lnTo>
                      <a:pt x="1400" y="1798"/>
                    </a:lnTo>
                    <a:lnTo>
                      <a:pt x="1512" y="1741"/>
                    </a:lnTo>
                    <a:lnTo>
                      <a:pt x="1670" y="1788"/>
                    </a:lnTo>
                    <a:lnTo>
                      <a:pt x="2039" y="1725"/>
                    </a:lnTo>
                    <a:lnTo>
                      <a:pt x="2097" y="1651"/>
                    </a:lnTo>
                    <a:lnTo>
                      <a:pt x="2151" y="1581"/>
                    </a:lnTo>
                    <a:lnTo>
                      <a:pt x="2448" y="1575"/>
                    </a:lnTo>
                    <a:lnTo>
                      <a:pt x="2457" y="1428"/>
                    </a:lnTo>
                    <a:lnTo>
                      <a:pt x="2372" y="1405"/>
                    </a:lnTo>
                    <a:lnTo>
                      <a:pt x="2315" y="1339"/>
                    </a:lnTo>
                    <a:lnTo>
                      <a:pt x="2259" y="1209"/>
                    </a:lnTo>
                    <a:lnTo>
                      <a:pt x="2156" y="1080"/>
                    </a:lnTo>
                    <a:lnTo>
                      <a:pt x="2051" y="934"/>
                    </a:lnTo>
                    <a:lnTo>
                      <a:pt x="1895" y="870"/>
                    </a:lnTo>
                    <a:lnTo>
                      <a:pt x="1907" y="802"/>
                    </a:lnTo>
                    <a:lnTo>
                      <a:pt x="1982" y="756"/>
                    </a:lnTo>
                    <a:lnTo>
                      <a:pt x="2061" y="784"/>
                    </a:lnTo>
                    <a:lnTo>
                      <a:pt x="2099" y="691"/>
                    </a:lnTo>
                    <a:lnTo>
                      <a:pt x="2081" y="517"/>
                    </a:lnTo>
                    <a:lnTo>
                      <a:pt x="2002" y="544"/>
                    </a:lnTo>
                    <a:lnTo>
                      <a:pt x="2010" y="448"/>
                    </a:lnTo>
                    <a:lnTo>
                      <a:pt x="1978" y="392"/>
                    </a:lnTo>
                    <a:lnTo>
                      <a:pt x="1906" y="328"/>
                    </a:lnTo>
                    <a:lnTo>
                      <a:pt x="1834" y="288"/>
                    </a:lnTo>
                    <a:lnTo>
                      <a:pt x="1850" y="208"/>
                    </a:lnTo>
                    <a:lnTo>
                      <a:pt x="1850" y="104"/>
                    </a:lnTo>
                    <a:lnTo>
                      <a:pt x="1850" y="16"/>
                    </a:lnTo>
                    <a:lnTo>
                      <a:pt x="1786" y="0"/>
                    </a:lnTo>
                    <a:lnTo>
                      <a:pt x="1746" y="64"/>
                    </a:lnTo>
                    <a:lnTo>
                      <a:pt x="1690" y="88"/>
                    </a:lnTo>
                    <a:lnTo>
                      <a:pt x="1698" y="136"/>
                    </a:lnTo>
                    <a:lnTo>
                      <a:pt x="1690" y="192"/>
                    </a:lnTo>
                    <a:lnTo>
                      <a:pt x="1682" y="240"/>
                    </a:lnTo>
                    <a:lnTo>
                      <a:pt x="1650" y="296"/>
                    </a:lnTo>
                    <a:lnTo>
                      <a:pt x="1594" y="352"/>
                    </a:lnTo>
                    <a:lnTo>
                      <a:pt x="1562" y="424"/>
                    </a:lnTo>
                    <a:lnTo>
                      <a:pt x="1506" y="464"/>
                    </a:lnTo>
                    <a:lnTo>
                      <a:pt x="1418" y="496"/>
                    </a:lnTo>
                    <a:lnTo>
                      <a:pt x="1338" y="480"/>
                    </a:lnTo>
                    <a:lnTo>
                      <a:pt x="1266" y="440"/>
                    </a:lnTo>
                    <a:lnTo>
                      <a:pt x="1186" y="408"/>
                    </a:lnTo>
                    <a:lnTo>
                      <a:pt x="1114" y="448"/>
                    </a:lnTo>
                    <a:lnTo>
                      <a:pt x="1066" y="496"/>
                    </a:lnTo>
                    <a:lnTo>
                      <a:pt x="1002" y="536"/>
                    </a:lnTo>
                    <a:lnTo>
                      <a:pt x="970" y="584"/>
                    </a:lnTo>
                    <a:lnTo>
                      <a:pt x="874" y="584"/>
                    </a:lnTo>
                    <a:lnTo>
                      <a:pt x="802" y="576"/>
                    </a:lnTo>
                    <a:lnTo>
                      <a:pt x="738" y="512"/>
                    </a:lnTo>
                    <a:lnTo>
                      <a:pt x="626" y="544"/>
                    </a:lnTo>
                    <a:lnTo>
                      <a:pt x="554" y="544"/>
                    </a:lnTo>
                    <a:lnTo>
                      <a:pt x="474" y="528"/>
                    </a:lnTo>
                    <a:lnTo>
                      <a:pt x="442" y="480"/>
                    </a:lnTo>
                    <a:lnTo>
                      <a:pt x="426" y="440"/>
                    </a:lnTo>
                    <a:lnTo>
                      <a:pt x="402" y="384"/>
                    </a:lnTo>
                    <a:lnTo>
                      <a:pt x="330" y="376"/>
                    </a:lnTo>
                    <a:lnTo>
                      <a:pt x="250" y="384"/>
                    </a:lnTo>
                    <a:lnTo>
                      <a:pt x="210" y="440"/>
                    </a:lnTo>
                    <a:lnTo>
                      <a:pt x="178" y="496"/>
                    </a:lnTo>
                    <a:lnTo>
                      <a:pt x="154" y="552"/>
                    </a:lnTo>
                    <a:lnTo>
                      <a:pt x="114" y="616"/>
                    </a:lnTo>
                    <a:lnTo>
                      <a:pt x="114" y="680"/>
                    </a:lnTo>
                    <a:lnTo>
                      <a:pt x="82" y="720"/>
                    </a:lnTo>
                    <a:lnTo>
                      <a:pt x="0" y="73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4" name="Freeform 152">
                <a:extLst>
                  <a:ext uri="{FF2B5EF4-FFF2-40B4-BE49-F238E27FC236}">
                    <a16:creationId xmlns:a16="http://schemas.microsoft.com/office/drawing/2014/main" id="{31D3DA80-5316-4116-AE7E-F0E74DC50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4943" y="2567975"/>
                <a:ext cx="891689" cy="786785"/>
              </a:xfrm>
              <a:custGeom>
                <a:avLst/>
                <a:gdLst/>
                <a:ahLst/>
                <a:cxnLst>
                  <a:cxn ang="0">
                    <a:pos x="2771" y="82"/>
                  </a:cxn>
                  <a:cxn ang="0">
                    <a:pos x="2907" y="146"/>
                  </a:cxn>
                  <a:cxn ang="0">
                    <a:pos x="3063" y="510"/>
                  </a:cxn>
                  <a:cxn ang="0">
                    <a:pos x="3154" y="881"/>
                  </a:cxn>
                  <a:cxn ang="0">
                    <a:pos x="3323" y="990"/>
                  </a:cxn>
                  <a:cxn ang="0">
                    <a:pos x="3362" y="1111"/>
                  </a:cxn>
                  <a:cxn ang="0">
                    <a:pos x="3173" y="1246"/>
                  </a:cxn>
                  <a:cxn ang="0">
                    <a:pos x="3082" y="1463"/>
                  </a:cxn>
                  <a:cxn ang="0">
                    <a:pos x="3038" y="1851"/>
                  </a:cxn>
                  <a:cxn ang="0">
                    <a:pos x="2873" y="2167"/>
                  </a:cxn>
                  <a:cxn ang="0">
                    <a:pos x="2749" y="2538"/>
                  </a:cxn>
                  <a:cxn ang="0">
                    <a:pos x="2606" y="2563"/>
                  </a:cxn>
                  <a:cxn ang="0">
                    <a:pos x="2574" y="2781"/>
                  </a:cxn>
                  <a:cxn ang="0">
                    <a:pos x="2502" y="2710"/>
                  </a:cxn>
                  <a:cxn ang="0">
                    <a:pos x="2400" y="2592"/>
                  </a:cxn>
                  <a:cxn ang="0">
                    <a:pos x="2343" y="2467"/>
                  </a:cxn>
                  <a:cxn ang="0">
                    <a:pos x="2279" y="2262"/>
                  </a:cxn>
                  <a:cxn ang="0">
                    <a:pos x="2184" y="2350"/>
                  </a:cxn>
                  <a:cxn ang="0">
                    <a:pos x="2175" y="2503"/>
                  </a:cxn>
                  <a:cxn ang="0">
                    <a:pos x="2085" y="2617"/>
                  </a:cxn>
                  <a:cxn ang="0">
                    <a:pos x="1997" y="2727"/>
                  </a:cxn>
                  <a:cxn ang="0">
                    <a:pos x="1827" y="2742"/>
                  </a:cxn>
                  <a:cxn ang="0">
                    <a:pos x="1676" y="2671"/>
                  </a:cxn>
                  <a:cxn ang="0">
                    <a:pos x="1563" y="2755"/>
                  </a:cxn>
                  <a:cxn ang="0">
                    <a:pos x="1463" y="2847"/>
                  </a:cxn>
                  <a:cxn ang="0">
                    <a:pos x="1293" y="2839"/>
                  </a:cxn>
                  <a:cxn ang="0">
                    <a:pos x="1119" y="2808"/>
                  </a:cxn>
                  <a:cxn ang="0">
                    <a:pos x="965" y="2790"/>
                  </a:cxn>
                  <a:cxn ang="0">
                    <a:pos x="894" y="2646"/>
                  </a:cxn>
                  <a:cxn ang="0">
                    <a:pos x="740" y="2646"/>
                  </a:cxn>
                  <a:cxn ang="0">
                    <a:pos x="672" y="2755"/>
                  </a:cxn>
                  <a:cxn ang="0">
                    <a:pos x="606" y="2881"/>
                  </a:cxn>
                  <a:cxn ang="0">
                    <a:pos x="573" y="2982"/>
                  </a:cxn>
                  <a:cxn ang="0">
                    <a:pos x="372" y="2986"/>
                  </a:cxn>
                  <a:cxn ang="0">
                    <a:pos x="359" y="2672"/>
                  </a:cxn>
                  <a:cxn ang="0">
                    <a:pos x="247" y="2441"/>
                  </a:cxn>
                  <a:cxn ang="0">
                    <a:pos x="152" y="2333"/>
                  </a:cxn>
                  <a:cxn ang="0">
                    <a:pos x="125" y="2163"/>
                  </a:cxn>
                  <a:cxn ang="0">
                    <a:pos x="0" y="2122"/>
                  </a:cxn>
                  <a:cxn ang="0">
                    <a:pos x="46" y="1949"/>
                  </a:cxn>
                  <a:cxn ang="0">
                    <a:pos x="111" y="1787"/>
                  </a:cxn>
                  <a:cxn ang="0">
                    <a:pos x="242" y="1563"/>
                  </a:cxn>
                  <a:cxn ang="0">
                    <a:pos x="453" y="1553"/>
                  </a:cxn>
                  <a:cxn ang="0">
                    <a:pos x="437" y="645"/>
                  </a:cxn>
                  <a:cxn ang="0">
                    <a:pos x="636" y="257"/>
                  </a:cxn>
                  <a:cxn ang="0">
                    <a:pos x="2333" y="278"/>
                  </a:cxn>
                  <a:cxn ang="0">
                    <a:pos x="2431" y="197"/>
                  </a:cxn>
                  <a:cxn ang="0">
                    <a:pos x="2576" y="82"/>
                  </a:cxn>
                  <a:cxn ang="0">
                    <a:pos x="2723" y="0"/>
                  </a:cxn>
                </a:cxnLst>
                <a:rect l="0" t="0" r="r" b="b"/>
                <a:pathLst>
                  <a:path w="3401" h="2998">
                    <a:moveTo>
                      <a:pt x="2723" y="0"/>
                    </a:moveTo>
                    <a:lnTo>
                      <a:pt x="2771" y="82"/>
                    </a:lnTo>
                    <a:lnTo>
                      <a:pt x="2849" y="82"/>
                    </a:lnTo>
                    <a:lnTo>
                      <a:pt x="2907" y="146"/>
                    </a:lnTo>
                    <a:lnTo>
                      <a:pt x="2978" y="177"/>
                    </a:lnTo>
                    <a:lnTo>
                      <a:pt x="3063" y="510"/>
                    </a:lnTo>
                    <a:lnTo>
                      <a:pt x="3115" y="657"/>
                    </a:lnTo>
                    <a:lnTo>
                      <a:pt x="3154" y="881"/>
                    </a:lnTo>
                    <a:lnTo>
                      <a:pt x="3271" y="913"/>
                    </a:lnTo>
                    <a:lnTo>
                      <a:pt x="3323" y="990"/>
                    </a:lnTo>
                    <a:lnTo>
                      <a:pt x="3401" y="1022"/>
                    </a:lnTo>
                    <a:lnTo>
                      <a:pt x="3362" y="1111"/>
                    </a:lnTo>
                    <a:lnTo>
                      <a:pt x="3232" y="1169"/>
                    </a:lnTo>
                    <a:lnTo>
                      <a:pt x="3173" y="1246"/>
                    </a:lnTo>
                    <a:lnTo>
                      <a:pt x="3089" y="1265"/>
                    </a:lnTo>
                    <a:lnTo>
                      <a:pt x="3082" y="1463"/>
                    </a:lnTo>
                    <a:lnTo>
                      <a:pt x="3011" y="1687"/>
                    </a:lnTo>
                    <a:lnTo>
                      <a:pt x="3038" y="1851"/>
                    </a:lnTo>
                    <a:lnTo>
                      <a:pt x="2970" y="2154"/>
                    </a:lnTo>
                    <a:lnTo>
                      <a:pt x="2873" y="2167"/>
                    </a:lnTo>
                    <a:lnTo>
                      <a:pt x="2775" y="2326"/>
                    </a:lnTo>
                    <a:lnTo>
                      <a:pt x="2749" y="2538"/>
                    </a:lnTo>
                    <a:lnTo>
                      <a:pt x="2671" y="2525"/>
                    </a:lnTo>
                    <a:lnTo>
                      <a:pt x="2606" y="2563"/>
                    </a:lnTo>
                    <a:lnTo>
                      <a:pt x="2626" y="2679"/>
                    </a:lnTo>
                    <a:lnTo>
                      <a:pt x="2574" y="2781"/>
                    </a:lnTo>
                    <a:lnTo>
                      <a:pt x="2493" y="2805"/>
                    </a:lnTo>
                    <a:lnTo>
                      <a:pt x="2502" y="2710"/>
                    </a:lnTo>
                    <a:lnTo>
                      <a:pt x="2471" y="2655"/>
                    </a:lnTo>
                    <a:lnTo>
                      <a:pt x="2400" y="2592"/>
                    </a:lnTo>
                    <a:lnTo>
                      <a:pt x="2325" y="2547"/>
                    </a:lnTo>
                    <a:lnTo>
                      <a:pt x="2343" y="2467"/>
                    </a:lnTo>
                    <a:lnTo>
                      <a:pt x="2343" y="2280"/>
                    </a:lnTo>
                    <a:lnTo>
                      <a:pt x="2279" y="2262"/>
                    </a:lnTo>
                    <a:lnTo>
                      <a:pt x="2240" y="2325"/>
                    </a:lnTo>
                    <a:lnTo>
                      <a:pt x="2184" y="2350"/>
                    </a:lnTo>
                    <a:lnTo>
                      <a:pt x="2189" y="2400"/>
                    </a:lnTo>
                    <a:lnTo>
                      <a:pt x="2175" y="2503"/>
                    </a:lnTo>
                    <a:lnTo>
                      <a:pt x="2141" y="2557"/>
                    </a:lnTo>
                    <a:lnTo>
                      <a:pt x="2085" y="2617"/>
                    </a:lnTo>
                    <a:lnTo>
                      <a:pt x="2055" y="2686"/>
                    </a:lnTo>
                    <a:lnTo>
                      <a:pt x="1997" y="2727"/>
                    </a:lnTo>
                    <a:lnTo>
                      <a:pt x="1907" y="2757"/>
                    </a:lnTo>
                    <a:lnTo>
                      <a:pt x="1827" y="2742"/>
                    </a:lnTo>
                    <a:lnTo>
                      <a:pt x="1761" y="2703"/>
                    </a:lnTo>
                    <a:lnTo>
                      <a:pt x="1676" y="2671"/>
                    </a:lnTo>
                    <a:lnTo>
                      <a:pt x="1608" y="2709"/>
                    </a:lnTo>
                    <a:lnTo>
                      <a:pt x="1563" y="2755"/>
                    </a:lnTo>
                    <a:lnTo>
                      <a:pt x="1494" y="2797"/>
                    </a:lnTo>
                    <a:lnTo>
                      <a:pt x="1463" y="2847"/>
                    </a:lnTo>
                    <a:lnTo>
                      <a:pt x="1356" y="2845"/>
                    </a:lnTo>
                    <a:lnTo>
                      <a:pt x="1293" y="2839"/>
                    </a:lnTo>
                    <a:lnTo>
                      <a:pt x="1229" y="2773"/>
                    </a:lnTo>
                    <a:lnTo>
                      <a:pt x="1119" y="2808"/>
                    </a:lnTo>
                    <a:lnTo>
                      <a:pt x="1046" y="2805"/>
                    </a:lnTo>
                    <a:lnTo>
                      <a:pt x="965" y="2790"/>
                    </a:lnTo>
                    <a:lnTo>
                      <a:pt x="930" y="2736"/>
                    </a:lnTo>
                    <a:lnTo>
                      <a:pt x="894" y="2646"/>
                    </a:lnTo>
                    <a:lnTo>
                      <a:pt x="813" y="2638"/>
                    </a:lnTo>
                    <a:lnTo>
                      <a:pt x="740" y="2646"/>
                    </a:lnTo>
                    <a:lnTo>
                      <a:pt x="704" y="2704"/>
                    </a:lnTo>
                    <a:lnTo>
                      <a:pt x="672" y="2755"/>
                    </a:lnTo>
                    <a:lnTo>
                      <a:pt x="647" y="2812"/>
                    </a:lnTo>
                    <a:lnTo>
                      <a:pt x="606" y="2881"/>
                    </a:lnTo>
                    <a:lnTo>
                      <a:pt x="605" y="2943"/>
                    </a:lnTo>
                    <a:lnTo>
                      <a:pt x="573" y="2982"/>
                    </a:lnTo>
                    <a:lnTo>
                      <a:pt x="496" y="2998"/>
                    </a:lnTo>
                    <a:lnTo>
                      <a:pt x="372" y="2986"/>
                    </a:lnTo>
                    <a:lnTo>
                      <a:pt x="392" y="2851"/>
                    </a:lnTo>
                    <a:lnTo>
                      <a:pt x="359" y="2672"/>
                    </a:lnTo>
                    <a:lnTo>
                      <a:pt x="251" y="2552"/>
                    </a:lnTo>
                    <a:lnTo>
                      <a:pt x="247" y="2441"/>
                    </a:lnTo>
                    <a:lnTo>
                      <a:pt x="171" y="2403"/>
                    </a:lnTo>
                    <a:lnTo>
                      <a:pt x="152" y="2333"/>
                    </a:lnTo>
                    <a:lnTo>
                      <a:pt x="111" y="2237"/>
                    </a:lnTo>
                    <a:lnTo>
                      <a:pt x="125" y="2163"/>
                    </a:lnTo>
                    <a:lnTo>
                      <a:pt x="20" y="2173"/>
                    </a:lnTo>
                    <a:lnTo>
                      <a:pt x="0" y="2122"/>
                    </a:lnTo>
                    <a:lnTo>
                      <a:pt x="87" y="2042"/>
                    </a:lnTo>
                    <a:lnTo>
                      <a:pt x="46" y="1949"/>
                    </a:lnTo>
                    <a:lnTo>
                      <a:pt x="152" y="1858"/>
                    </a:lnTo>
                    <a:lnTo>
                      <a:pt x="111" y="1787"/>
                    </a:lnTo>
                    <a:lnTo>
                      <a:pt x="238" y="1647"/>
                    </a:lnTo>
                    <a:lnTo>
                      <a:pt x="242" y="1563"/>
                    </a:lnTo>
                    <a:lnTo>
                      <a:pt x="310" y="1523"/>
                    </a:lnTo>
                    <a:lnTo>
                      <a:pt x="453" y="1553"/>
                    </a:lnTo>
                    <a:lnTo>
                      <a:pt x="442" y="777"/>
                    </a:lnTo>
                    <a:lnTo>
                      <a:pt x="437" y="645"/>
                    </a:lnTo>
                    <a:lnTo>
                      <a:pt x="635" y="640"/>
                    </a:lnTo>
                    <a:lnTo>
                      <a:pt x="636" y="257"/>
                    </a:lnTo>
                    <a:lnTo>
                      <a:pt x="2262" y="231"/>
                    </a:lnTo>
                    <a:lnTo>
                      <a:pt x="2333" y="278"/>
                    </a:lnTo>
                    <a:lnTo>
                      <a:pt x="2429" y="275"/>
                    </a:lnTo>
                    <a:lnTo>
                      <a:pt x="2431" y="197"/>
                    </a:lnTo>
                    <a:lnTo>
                      <a:pt x="2544" y="165"/>
                    </a:lnTo>
                    <a:lnTo>
                      <a:pt x="2576" y="82"/>
                    </a:lnTo>
                    <a:lnTo>
                      <a:pt x="2667" y="48"/>
                    </a:lnTo>
                    <a:lnTo>
                      <a:pt x="272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5" name="任意多边形 173">
                <a:extLst>
                  <a:ext uri="{FF2B5EF4-FFF2-40B4-BE49-F238E27FC236}">
                    <a16:creationId xmlns:a16="http://schemas.microsoft.com/office/drawing/2014/main" id="{532252C2-7DA2-43C5-9DDA-260F70D63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5365" y="3648492"/>
                <a:ext cx="35406" cy="36717"/>
              </a:xfrm>
              <a:custGeom>
                <a:avLst/>
                <a:gdLst/>
                <a:ahLst/>
                <a:cxnLst/>
                <a:rect l="0" t="0" r="r" b="b"/>
                <a:pathLst>
                  <a:path w="7960595" h="8829030">
                    <a:moveTo>
                      <a:pt x="2948394" y="2140887"/>
                    </a:moveTo>
                    <a:lnTo>
                      <a:pt x="2921546" y="2290985"/>
                    </a:lnTo>
                    <a:cubicBezTo>
                      <a:pt x="2917001" y="2339653"/>
                      <a:pt x="2945040" y="2441798"/>
                      <a:pt x="2945929" y="2510060"/>
                    </a:cubicBezTo>
                    <a:cubicBezTo>
                      <a:pt x="2946818" y="2578322"/>
                      <a:pt x="2929095" y="2622103"/>
                      <a:pt x="2926879" y="2700560"/>
                    </a:cubicBezTo>
                    <a:cubicBezTo>
                      <a:pt x="2925622" y="2841599"/>
                      <a:pt x="2909086" y="2762597"/>
                      <a:pt x="2907829" y="2903636"/>
                    </a:cubicBezTo>
                    <a:lnTo>
                      <a:pt x="2869729" y="3040037"/>
                    </a:lnTo>
                    <a:lnTo>
                      <a:pt x="2898304" y="3194347"/>
                    </a:lnTo>
                    <a:lnTo>
                      <a:pt x="2903637" y="3394372"/>
                    </a:lnTo>
                    <a:lnTo>
                      <a:pt x="2813720" y="3503339"/>
                    </a:lnTo>
                    <a:lnTo>
                      <a:pt x="2733328" y="3612306"/>
                    </a:lnTo>
                    <a:lnTo>
                      <a:pt x="2595786" y="3715940"/>
                    </a:lnTo>
                    <a:lnTo>
                      <a:pt x="2505869" y="3777282"/>
                    </a:lnTo>
                    <a:lnTo>
                      <a:pt x="2410619" y="3877865"/>
                    </a:lnTo>
                    <a:lnTo>
                      <a:pt x="2358802" y="3985691"/>
                    </a:lnTo>
                    <a:lnTo>
                      <a:pt x="2330227" y="4098850"/>
                    </a:lnTo>
                    <a:lnTo>
                      <a:pt x="2376711" y="4269159"/>
                    </a:lnTo>
                    <a:lnTo>
                      <a:pt x="2485329" y="4301777"/>
                    </a:lnTo>
                    <a:lnTo>
                      <a:pt x="2515394" y="4458518"/>
                    </a:lnTo>
                    <a:lnTo>
                      <a:pt x="2458244" y="4623494"/>
                    </a:lnTo>
                    <a:lnTo>
                      <a:pt x="2426618" y="4788470"/>
                    </a:lnTo>
                    <a:lnTo>
                      <a:pt x="2289868" y="4918248"/>
                    </a:lnTo>
                    <a:lnTo>
                      <a:pt x="2170584" y="4955728"/>
                    </a:lnTo>
                    <a:lnTo>
                      <a:pt x="2036276" y="4976559"/>
                    </a:lnTo>
                    <a:lnTo>
                      <a:pt x="1843683" y="4862388"/>
                    </a:lnTo>
                    <a:lnTo>
                      <a:pt x="1720999" y="4900488"/>
                    </a:lnTo>
                    <a:lnTo>
                      <a:pt x="1625749" y="4885635"/>
                    </a:lnTo>
                    <a:lnTo>
                      <a:pt x="1522115" y="4885635"/>
                    </a:lnTo>
                    <a:lnTo>
                      <a:pt x="1369715" y="4910018"/>
                    </a:lnTo>
                    <a:lnTo>
                      <a:pt x="1241698" y="4838010"/>
                    </a:lnTo>
                    <a:lnTo>
                      <a:pt x="1151781" y="4890968"/>
                    </a:lnTo>
                    <a:lnTo>
                      <a:pt x="989856" y="4871918"/>
                    </a:lnTo>
                    <a:lnTo>
                      <a:pt x="938039" y="4805243"/>
                    </a:lnTo>
                    <a:lnTo>
                      <a:pt x="814214" y="4799910"/>
                    </a:lnTo>
                    <a:lnTo>
                      <a:pt x="766961" y="4895160"/>
                    </a:lnTo>
                    <a:lnTo>
                      <a:pt x="590178" y="4937452"/>
                    </a:lnTo>
                    <a:lnTo>
                      <a:pt x="549027" y="5046419"/>
                    </a:lnTo>
                    <a:lnTo>
                      <a:pt x="463302" y="5155386"/>
                    </a:lnTo>
                    <a:lnTo>
                      <a:pt x="392435" y="5254828"/>
                    </a:lnTo>
                    <a:lnTo>
                      <a:pt x="344810" y="5367987"/>
                    </a:lnTo>
                    <a:lnTo>
                      <a:pt x="283468" y="5538296"/>
                    </a:lnTo>
                    <a:lnTo>
                      <a:pt x="231651" y="5680030"/>
                    </a:lnTo>
                    <a:lnTo>
                      <a:pt x="164976" y="5859864"/>
                    </a:lnTo>
                    <a:lnTo>
                      <a:pt x="141734" y="6011123"/>
                    </a:lnTo>
                    <a:lnTo>
                      <a:pt x="80392" y="6129615"/>
                    </a:lnTo>
                    <a:lnTo>
                      <a:pt x="51817" y="6256491"/>
                    </a:lnTo>
                    <a:lnTo>
                      <a:pt x="70867" y="6427941"/>
                    </a:lnTo>
                    <a:lnTo>
                      <a:pt x="0" y="6526242"/>
                    </a:lnTo>
                    <a:lnTo>
                      <a:pt x="8382" y="6650712"/>
                    </a:lnTo>
                    <a:lnTo>
                      <a:pt x="47625" y="6795993"/>
                    </a:lnTo>
                    <a:lnTo>
                      <a:pt x="65533" y="6928202"/>
                    </a:lnTo>
                    <a:lnTo>
                      <a:pt x="113158" y="7088986"/>
                    </a:lnTo>
                    <a:lnTo>
                      <a:pt x="215649" y="7210033"/>
                    </a:lnTo>
                    <a:lnTo>
                      <a:pt x="220983" y="7325970"/>
                    </a:lnTo>
                    <a:lnTo>
                      <a:pt x="321566" y="7429604"/>
                    </a:lnTo>
                    <a:lnTo>
                      <a:pt x="331091" y="7594580"/>
                    </a:lnTo>
                    <a:lnTo>
                      <a:pt x="348999" y="7779747"/>
                    </a:lnTo>
                    <a:lnTo>
                      <a:pt x="454568" y="7881446"/>
                    </a:lnTo>
                    <a:lnTo>
                      <a:pt x="590575" y="7936339"/>
                    </a:lnTo>
                    <a:lnTo>
                      <a:pt x="790203" y="7977489"/>
                    </a:lnTo>
                    <a:lnTo>
                      <a:pt x="926604" y="8048356"/>
                    </a:lnTo>
                    <a:lnTo>
                      <a:pt x="1147589" y="8115031"/>
                    </a:lnTo>
                    <a:lnTo>
                      <a:pt x="1313706" y="8109697"/>
                    </a:lnTo>
                    <a:lnTo>
                      <a:pt x="1503065" y="8128747"/>
                    </a:lnTo>
                    <a:lnTo>
                      <a:pt x="1663849" y="8161514"/>
                    </a:lnTo>
                    <a:lnTo>
                      <a:pt x="1796058" y="8256764"/>
                    </a:lnTo>
                    <a:lnTo>
                      <a:pt x="1985417" y="8327631"/>
                    </a:lnTo>
                    <a:lnTo>
                      <a:pt x="2231926" y="8365382"/>
                    </a:lnTo>
                    <a:lnTo>
                      <a:pt x="2259360" y="8308232"/>
                    </a:lnTo>
                    <a:lnTo>
                      <a:pt x="2390428" y="8318105"/>
                    </a:lnTo>
                    <a:lnTo>
                      <a:pt x="2574454" y="8289530"/>
                    </a:lnTo>
                    <a:lnTo>
                      <a:pt x="2745904" y="8365730"/>
                    </a:lnTo>
                    <a:lnTo>
                      <a:pt x="2892971" y="8413007"/>
                    </a:lnTo>
                    <a:lnTo>
                      <a:pt x="2996605" y="8498731"/>
                    </a:lnTo>
                    <a:lnTo>
                      <a:pt x="3109764" y="8489206"/>
                    </a:lnTo>
                    <a:lnTo>
                      <a:pt x="3250357" y="8479681"/>
                    </a:lnTo>
                    <a:lnTo>
                      <a:pt x="3402757" y="8546356"/>
                    </a:lnTo>
                    <a:lnTo>
                      <a:pt x="3549824" y="8593981"/>
                    </a:lnTo>
                    <a:lnTo>
                      <a:pt x="3691558" y="8689230"/>
                    </a:lnTo>
                    <a:lnTo>
                      <a:pt x="3785667" y="8782546"/>
                    </a:lnTo>
                    <a:lnTo>
                      <a:pt x="3947592" y="8829030"/>
                    </a:lnTo>
                    <a:lnTo>
                      <a:pt x="3998268" y="8743305"/>
                    </a:lnTo>
                    <a:lnTo>
                      <a:pt x="4111427" y="8634338"/>
                    </a:lnTo>
                    <a:lnTo>
                      <a:pt x="4201344" y="8527306"/>
                    </a:lnTo>
                    <a:lnTo>
                      <a:pt x="4235252" y="8527305"/>
                    </a:lnTo>
                    <a:lnTo>
                      <a:pt x="4272211" y="8327280"/>
                    </a:lnTo>
                    <a:lnTo>
                      <a:pt x="4407026" y="8185993"/>
                    </a:lnTo>
                    <a:lnTo>
                      <a:pt x="4475287" y="8043019"/>
                    </a:lnTo>
                    <a:lnTo>
                      <a:pt x="4574729" y="7897093"/>
                    </a:lnTo>
                    <a:lnTo>
                      <a:pt x="4753422" y="7727925"/>
                    </a:lnTo>
                    <a:lnTo>
                      <a:pt x="4967164" y="7523708"/>
                    </a:lnTo>
                    <a:lnTo>
                      <a:pt x="5315555" y="7112069"/>
                    </a:lnTo>
                    <a:lnTo>
                      <a:pt x="5322268" y="6952183"/>
                    </a:lnTo>
                    <a:lnTo>
                      <a:pt x="5396558" y="6760170"/>
                    </a:lnTo>
                    <a:lnTo>
                      <a:pt x="5387033" y="6641678"/>
                    </a:lnTo>
                    <a:lnTo>
                      <a:pt x="5396558" y="6485086"/>
                    </a:lnTo>
                    <a:lnTo>
                      <a:pt x="5391225" y="6343352"/>
                    </a:lnTo>
                    <a:lnTo>
                      <a:pt x="5329883" y="6272485"/>
                    </a:lnTo>
                    <a:lnTo>
                      <a:pt x="5297116" y="6163518"/>
                    </a:lnTo>
                    <a:lnTo>
                      <a:pt x="5278066" y="6054551"/>
                    </a:lnTo>
                    <a:lnTo>
                      <a:pt x="5382841" y="5931867"/>
                    </a:lnTo>
                    <a:lnTo>
                      <a:pt x="5535241" y="5918150"/>
                    </a:lnTo>
                    <a:lnTo>
                      <a:pt x="5638875" y="5817567"/>
                    </a:lnTo>
                    <a:lnTo>
                      <a:pt x="5740300" y="5816674"/>
                    </a:lnTo>
                    <a:lnTo>
                      <a:pt x="5760418" y="5686499"/>
                    </a:lnTo>
                    <a:lnTo>
                      <a:pt x="5865193" y="5619824"/>
                    </a:lnTo>
                    <a:lnTo>
                      <a:pt x="5945585" y="5554290"/>
                    </a:lnTo>
                    <a:lnTo>
                      <a:pt x="5939111" y="5424363"/>
                    </a:lnTo>
                    <a:lnTo>
                      <a:pt x="5977211" y="5277296"/>
                    </a:lnTo>
                    <a:lnTo>
                      <a:pt x="5952828" y="5168329"/>
                    </a:lnTo>
                    <a:lnTo>
                      <a:pt x="6015311" y="5021262"/>
                    </a:lnTo>
                    <a:lnTo>
                      <a:pt x="6095703" y="5017070"/>
                    </a:lnTo>
                    <a:lnTo>
                      <a:pt x="6166570" y="4870003"/>
                    </a:lnTo>
                    <a:lnTo>
                      <a:pt x="6242770" y="4784278"/>
                    </a:lnTo>
                    <a:lnTo>
                      <a:pt x="6342212" y="4694361"/>
                    </a:lnTo>
                    <a:lnTo>
                      <a:pt x="6361262" y="4566344"/>
                    </a:lnTo>
                    <a:lnTo>
                      <a:pt x="6456514" y="4494337"/>
                    </a:lnTo>
                    <a:lnTo>
                      <a:pt x="6440614" y="4399806"/>
                    </a:lnTo>
                    <a:lnTo>
                      <a:pt x="6474306" y="4304724"/>
                    </a:lnTo>
                    <a:lnTo>
                      <a:pt x="6591470" y="4097690"/>
                    </a:lnTo>
                    <a:lnTo>
                      <a:pt x="6682528" y="3865022"/>
                    </a:lnTo>
                    <a:lnTo>
                      <a:pt x="6729136" y="3731920"/>
                    </a:lnTo>
                    <a:lnTo>
                      <a:pt x="6866802" y="3723536"/>
                    </a:lnTo>
                    <a:lnTo>
                      <a:pt x="6832719" y="3647931"/>
                    </a:lnTo>
                    <a:lnTo>
                      <a:pt x="6883942" y="3565034"/>
                    </a:lnTo>
                    <a:lnTo>
                      <a:pt x="6926358" y="3474100"/>
                    </a:lnTo>
                    <a:lnTo>
                      <a:pt x="7017540" y="3366150"/>
                    </a:lnTo>
                    <a:lnTo>
                      <a:pt x="7062114" y="3296300"/>
                    </a:lnTo>
                    <a:lnTo>
                      <a:pt x="7161804" y="3234958"/>
                    </a:lnTo>
                    <a:lnTo>
                      <a:pt x="7227586" y="3143900"/>
                    </a:lnTo>
                    <a:lnTo>
                      <a:pt x="7296251" y="3065562"/>
                    </a:lnTo>
                    <a:lnTo>
                      <a:pt x="7328001" y="2896146"/>
                    </a:lnTo>
                    <a:lnTo>
                      <a:pt x="7406359" y="2879254"/>
                    </a:lnTo>
                    <a:lnTo>
                      <a:pt x="7402043" y="2769270"/>
                    </a:lnTo>
                    <a:lnTo>
                      <a:pt x="7522693" y="2680370"/>
                    </a:lnTo>
                    <a:lnTo>
                      <a:pt x="7634835" y="2602136"/>
                    </a:lnTo>
                    <a:lnTo>
                      <a:pt x="7681319" y="2479452"/>
                    </a:lnTo>
                    <a:lnTo>
                      <a:pt x="7749011" y="2424584"/>
                    </a:lnTo>
                    <a:lnTo>
                      <a:pt x="7772253" y="2325142"/>
                    </a:lnTo>
                    <a:lnTo>
                      <a:pt x="7842103" y="2301900"/>
                    </a:lnTo>
                    <a:lnTo>
                      <a:pt x="7873853" y="2164358"/>
                    </a:lnTo>
                    <a:cubicBezTo>
                      <a:pt x="7873134" y="2121347"/>
                      <a:pt x="7872414" y="2078335"/>
                      <a:pt x="7871695" y="2035324"/>
                    </a:cubicBezTo>
                    <a:lnTo>
                      <a:pt x="7922495" y="1921024"/>
                    </a:lnTo>
                    <a:lnTo>
                      <a:pt x="7960595" y="1813074"/>
                    </a:lnTo>
                    <a:lnTo>
                      <a:pt x="7909795" y="1732682"/>
                    </a:lnTo>
                    <a:lnTo>
                      <a:pt x="7878045" y="1690390"/>
                    </a:lnTo>
                    <a:lnTo>
                      <a:pt x="7865345" y="1614190"/>
                    </a:lnTo>
                    <a:lnTo>
                      <a:pt x="7907761" y="1461790"/>
                    </a:lnTo>
                    <a:lnTo>
                      <a:pt x="7869661" y="1381398"/>
                    </a:lnTo>
                    <a:lnTo>
                      <a:pt x="7850611" y="1288306"/>
                    </a:lnTo>
                    <a:lnTo>
                      <a:pt x="7863312" y="1127522"/>
                    </a:lnTo>
                    <a:lnTo>
                      <a:pt x="7816969" y="1050111"/>
                    </a:lnTo>
                    <a:lnTo>
                      <a:pt x="7736311" y="1030238"/>
                    </a:lnTo>
                    <a:lnTo>
                      <a:pt x="7698211" y="987946"/>
                    </a:lnTo>
                    <a:lnTo>
                      <a:pt x="7729961" y="905396"/>
                    </a:lnTo>
                    <a:lnTo>
                      <a:pt x="7668619" y="907554"/>
                    </a:lnTo>
                    <a:lnTo>
                      <a:pt x="7605119" y="825004"/>
                    </a:lnTo>
                    <a:lnTo>
                      <a:pt x="7571211" y="729754"/>
                    </a:lnTo>
                    <a:lnTo>
                      <a:pt x="7624169" y="662062"/>
                    </a:lnTo>
                    <a:lnTo>
                      <a:pt x="7547969" y="594370"/>
                    </a:lnTo>
                    <a:lnTo>
                      <a:pt x="7499327" y="509662"/>
                    </a:lnTo>
                    <a:lnTo>
                      <a:pt x="7380835" y="509786"/>
                    </a:lnTo>
                    <a:lnTo>
                      <a:pt x="7313143" y="382786"/>
                    </a:lnTo>
                    <a:lnTo>
                      <a:pt x="7201001" y="351036"/>
                    </a:lnTo>
                    <a:lnTo>
                      <a:pt x="7044409" y="357386"/>
                    </a:lnTo>
                    <a:lnTo>
                      <a:pt x="6953599" y="395610"/>
                    </a:lnTo>
                    <a:lnTo>
                      <a:pt x="6866857" y="412502"/>
                    </a:lnTo>
                    <a:lnTo>
                      <a:pt x="6773765" y="444252"/>
                    </a:lnTo>
                    <a:lnTo>
                      <a:pt x="6644731" y="456952"/>
                    </a:lnTo>
                    <a:lnTo>
                      <a:pt x="6490297" y="454794"/>
                    </a:lnTo>
                    <a:lnTo>
                      <a:pt x="6462739" y="528836"/>
                    </a:lnTo>
                    <a:lnTo>
                      <a:pt x="6278713" y="530994"/>
                    </a:lnTo>
                    <a:lnTo>
                      <a:pt x="6101037" y="473844"/>
                    </a:lnTo>
                    <a:lnTo>
                      <a:pt x="6022803" y="524644"/>
                    </a:lnTo>
                    <a:lnTo>
                      <a:pt x="5895803" y="537344"/>
                    </a:lnTo>
                    <a:lnTo>
                      <a:pt x="5815411" y="501402"/>
                    </a:lnTo>
                    <a:lnTo>
                      <a:pt x="5758385" y="425202"/>
                    </a:lnTo>
                    <a:lnTo>
                      <a:pt x="5631385" y="465460"/>
                    </a:lnTo>
                    <a:lnTo>
                      <a:pt x="5563693" y="387102"/>
                    </a:lnTo>
                    <a:lnTo>
                      <a:pt x="5553151" y="456952"/>
                    </a:lnTo>
                    <a:lnTo>
                      <a:pt x="5474793" y="492894"/>
                    </a:lnTo>
                    <a:lnTo>
                      <a:pt x="5275909" y="488702"/>
                    </a:lnTo>
                    <a:lnTo>
                      <a:pt x="5117407" y="433710"/>
                    </a:lnTo>
                    <a:lnTo>
                      <a:pt x="4933257" y="425202"/>
                    </a:lnTo>
                    <a:lnTo>
                      <a:pt x="4829623" y="446410"/>
                    </a:lnTo>
                    <a:lnTo>
                      <a:pt x="4749231" y="410468"/>
                    </a:lnTo>
                    <a:lnTo>
                      <a:pt x="4681984" y="357683"/>
                    </a:lnTo>
                    <a:lnTo>
                      <a:pt x="4692081" y="239142"/>
                    </a:lnTo>
                    <a:lnTo>
                      <a:pt x="4745039" y="137542"/>
                    </a:lnTo>
                    <a:lnTo>
                      <a:pt x="4618039" y="107950"/>
                    </a:lnTo>
                    <a:lnTo>
                      <a:pt x="4565205" y="38100"/>
                    </a:lnTo>
                    <a:lnTo>
                      <a:pt x="4499671" y="0"/>
                    </a:lnTo>
                    <a:lnTo>
                      <a:pt x="4457379" y="61342"/>
                    </a:lnTo>
                    <a:lnTo>
                      <a:pt x="4275387" y="109984"/>
                    </a:lnTo>
                    <a:lnTo>
                      <a:pt x="4233095" y="186184"/>
                    </a:lnTo>
                    <a:lnTo>
                      <a:pt x="4127303" y="177676"/>
                    </a:lnTo>
                    <a:lnTo>
                      <a:pt x="4104061" y="268610"/>
                    </a:lnTo>
                    <a:lnTo>
                      <a:pt x="4025703" y="391294"/>
                    </a:lnTo>
                    <a:lnTo>
                      <a:pt x="4021511" y="518294"/>
                    </a:lnTo>
                    <a:lnTo>
                      <a:pt x="3970711" y="585986"/>
                    </a:lnTo>
                    <a:lnTo>
                      <a:pt x="3934769" y="647328"/>
                    </a:lnTo>
                    <a:lnTo>
                      <a:pt x="3886127" y="727720"/>
                    </a:lnTo>
                    <a:lnTo>
                      <a:pt x="3805611" y="808111"/>
                    </a:lnTo>
                    <a:lnTo>
                      <a:pt x="3750316" y="889650"/>
                    </a:lnTo>
                    <a:lnTo>
                      <a:pt x="3617090" y="970166"/>
                    </a:lnTo>
                    <a:lnTo>
                      <a:pt x="3600694" y="1112272"/>
                    </a:lnTo>
                    <a:lnTo>
                      <a:pt x="3492992" y="1256412"/>
                    </a:lnTo>
                    <a:lnTo>
                      <a:pt x="3393674" y="1413252"/>
                    </a:lnTo>
                    <a:lnTo>
                      <a:pt x="3264640" y="1483226"/>
                    </a:lnTo>
                    <a:lnTo>
                      <a:pt x="3169514" y="1591300"/>
                    </a:lnTo>
                    <a:lnTo>
                      <a:pt x="3116804" y="1678166"/>
                    </a:lnTo>
                    <a:lnTo>
                      <a:pt x="3057868" y="1769348"/>
                    </a:lnTo>
                    <a:lnTo>
                      <a:pt x="2964900" y="1839198"/>
                    </a:lnTo>
                    <a:lnTo>
                      <a:pt x="2947163" y="1990531"/>
                    </a:lnTo>
                    <a:cubicBezTo>
                      <a:pt x="2947573" y="2040650"/>
                      <a:pt x="2947984" y="2090768"/>
                      <a:pt x="2948394" y="214088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6" name="任意多边形 174">
                <a:extLst>
                  <a:ext uri="{FF2B5EF4-FFF2-40B4-BE49-F238E27FC236}">
                    <a16:creationId xmlns:a16="http://schemas.microsoft.com/office/drawing/2014/main" id="{11B9887A-A0B1-4991-899F-D4A877B57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235" y="3872726"/>
                <a:ext cx="6557" cy="10490"/>
              </a:xfrm>
              <a:custGeom>
                <a:avLst/>
                <a:gdLst/>
                <a:ahLst/>
                <a:cxnLst/>
                <a:rect l="0" t="0" r="r" b="b"/>
                <a:pathLst>
                  <a:path w="3560387" h="6001569">
                    <a:moveTo>
                      <a:pt x="28925" y="1128680"/>
                    </a:moveTo>
                    <a:lnTo>
                      <a:pt x="112277" y="1133748"/>
                    </a:lnTo>
                    <a:lnTo>
                      <a:pt x="216203" y="1139923"/>
                    </a:lnTo>
                    <a:lnTo>
                      <a:pt x="329214" y="1202425"/>
                    </a:lnTo>
                    <a:lnTo>
                      <a:pt x="229286" y="1277276"/>
                    </a:lnTo>
                    <a:lnTo>
                      <a:pt x="315588" y="1335781"/>
                    </a:lnTo>
                    <a:lnTo>
                      <a:pt x="238370" y="1417540"/>
                    </a:lnTo>
                    <a:lnTo>
                      <a:pt x="247454" y="1562890"/>
                    </a:lnTo>
                    <a:lnTo>
                      <a:pt x="165695" y="1630478"/>
                    </a:lnTo>
                    <a:lnTo>
                      <a:pt x="138987" y="1745855"/>
                    </a:lnTo>
                    <a:lnTo>
                      <a:pt x="182776" y="1828892"/>
                    </a:lnTo>
                    <a:lnTo>
                      <a:pt x="265623" y="1906653"/>
                    </a:lnTo>
                    <a:lnTo>
                      <a:pt x="328670" y="1892482"/>
                    </a:lnTo>
                    <a:lnTo>
                      <a:pt x="428598" y="1829436"/>
                    </a:lnTo>
                    <a:cubicBezTo>
                      <a:pt x="428235" y="1858203"/>
                      <a:pt x="427873" y="1886971"/>
                      <a:pt x="427510" y="1915738"/>
                    </a:cubicBezTo>
                    <a:lnTo>
                      <a:pt x="368461" y="1952076"/>
                    </a:lnTo>
                    <a:lnTo>
                      <a:pt x="387174" y="2089618"/>
                    </a:lnTo>
                    <a:lnTo>
                      <a:pt x="500729" y="2084532"/>
                    </a:lnTo>
                    <a:lnTo>
                      <a:pt x="531981" y="2146845"/>
                    </a:lnTo>
                    <a:lnTo>
                      <a:pt x="449677" y="2264398"/>
                    </a:lnTo>
                    <a:lnTo>
                      <a:pt x="591029" y="2396121"/>
                    </a:lnTo>
                    <a:lnTo>
                      <a:pt x="497487" y="2458246"/>
                    </a:lnTo>
                    <a:cubicBezTo>
                      <a:pt x="496588" y="2554295"/>
                      <a:pt x="491456" y="2506292"/>
                      <a:pt x="490557" y="2602341"/>
                    </a:cubicBezTo>
                    <a:cubicBezTo>
                      <a:pt x="489095" y="2635867"/>
                      <a:pt x="554691" y="2649761"/>
                      <a:pt x="554691" y="2669929"/>
                    </a:cubicBezTo>
                    <a:lnTo>
                      <a:pt x="490556" y="2723347"/>
                    </a:lnTo>
                    <a:lnTo>
                      <a:pt x="571772" y="2845442"/>
                    </a:lnTo>
                    <a:lnTo>
                      <a:pt x="627578" y="2899758"/>
                    </a:lnTo>
                    <a:lnTo>
                      <a:pt x="572860" y="2990249"/>
                    </a:lnTo>
                    <a:lnTo>
                      <a:pt x="590485" y="3052750"/>
                    </a:lnTo>
                    <a:lnTo>
                      <a:pt x="535978" y="3134509"/>
                    </a:lnTo>
                    <a:lnTo>
                      <a:pt x="502551" y="3182836"/>
                    </a:lnTo>
                    <a:lnTo>
                      <a:pt x="575226" y="3331096"/>
                    </a:lnTo>
                    <a:lnTo>
                      <a:pt x="647901" y="3380516"/>
                    </a:lnTo>
                    <a:lnTo>
                      <a:pt x="775082" y="3507697"/>
                    </a:lnTo>
                    <a:lnTo>
                      <a:pt x="833587" y="3662131"/>
                    </a:lnTo>
                    <a:lnTo>
                      <a:pt x="855753" y="3741714"/>
                    </a:lnTo>
                    <a:lnTo>
                      <a:pt x="929517" y="3879068"/>
                    </a:lnTo>
                    <a:lnTo>
                      <a:pt x="829589" y="3905233"/>
                    </a:lnTo>
                    <a:lnTo>
                      <a:pt x="825590" y="4054581"/>
                    </a:lnTo>
                    <a:lnTo>
                      <a:pt x="744919" y="4141426"/>
                    </a:lnTo>
                    <a:lnTo>
                      <a:pt x="604656" y="4119259"/>
                    </a:lnTo>
                    <a:lnTo>
                      <a:pt x="513812" y="4239178"/>
                    </a:lnTo>
                    <a:lnTo>
                      <a:pt x="482561" y="4379441"/>
                    </a:lnTo>
                    <a:lnTo>
                      <a:pt x="386653" y="4514998"/>
                    </a:lnTo>
                    <a:lnTo>
                      <a:pt x="324128" y="4608372"/>
                    </a:lnTo>
                    <a:lnTo>
                      <a:pt x="356468" y="4829307"/>
                    </a:lnTo>
                    <a:lnTo>
                      <a:pt x="269622" y="4873641"/>
                    </a:lnTo>
                    <a:lnTo>
                      <a:pt x="334280" y="5014217"/>
                    </a:lnTo>
                    <a:lnTo>
                      <a:pt x="360111" y="5103661"/>
                    </a:lnTo>
                    <a:lnTo>
                      <a:pt x="453131" y="5162166"/>
                    </a:lnTo>
                    <a:lnTo>
                      <a:pt x="606477" y="5193417"/>
                    </a:lnTo>
                    <a:lnTo>
                      <a:pt x="714402" y="5202501"/>
                    </a:lnTo>
                    <a:lnTo>
                      <a:pt x="809243" y="5311514"/>
                    </a:lnTo>
                    <a:lnTo>
                      <a:pt x="949507" y="5301341"/>
                    </a:lnTo>
                    <a:lnTo>
                      <a:pt x="1021094" y="5346763"/>
                    </a:lnTo>
                    <a:lnTo>
                      <a:pt x="1061429" y="5492113"/>
                    </a:lnTo>
                    <a:lnTo>
                      <a:pt x="1039262" y="5600037"/>
                    </a:lnTo>
                    <a:lnTo>
                      <a:pt x="1066516" y="5680708"/>
                    </a:lnTo>
                    <a:lnTo>
                      <a:pt x="1025092" y="5766465"/>
                    </a:lnTo>
                    <a:lnTo>
                      <a:pt x="1139191" y="5870390"/>
                    </a:lnTo>
                    <a:lnTo>
                      <a:pt x="1265283" y="5874388"/>
                    </a:lnTo>
                    <a:lnTo>
                      <a:pt x="1251113" y="5765376"/>
                    </a:lnTo>
                    <a:lnTo>
                      <a:pt x="1236942" y="5652365"/>
                    </a:lnTo>
                    <a:lnTo>
                      <a:pt x="1377206" y="5689791"/>
                    </a:lnTo>
                    <a:lnTo>
                      <a:pt x="1554540" y="5658540"/>
                    </a:lnTo>
                    <a:lnTo>
                      <a:pt x="1689718" y="5713046"/>
                    </a:lnTo>
                    <a:lnTo>
                      <a:pt x="1806726" y="5731215"/>
                    </a:lnTo>
                    <a:lnTo>
                      <a:pt x="1806726" y="5876564"/>
                    </a:lnTo>
                    <a:cubicBezTo>
                      <a:pt x="1806482" y="5918232"/>
                      <a:pt x="1806237" y="5959901"/>
                      <a:pt x="1805993" y="6001569"/>
                    </a:cubicBezTo>
                    <a:lnTo>
                      <a:pt x="1977508" y="5951061"/>
                    </a:lnTo>
                    <a:lnTo>
                      <a:pt x="2145758" y="5875476"/>
                    </a:lnTo>
                    <a:lnTo>
                      <a:pt x="2286021" y="5789719"/>
                    </a:lnTo>
                    <a:lnTo>
                      <a:pt x="2208260" y="5935069"/>
                    </a:lnTo>
                    <a:lnTo>
                      <a:pt x="2362695" y="5911814"/>
                    </a:lnTo>
                    <a:lnTo>
                      <a:pt x="2508044" y="5866392"/>
                    </a:lnTo>
                    <a:lnTo>
                      <a:pt x="2548380" y="5744297"/>
                    </a:lnTo>
                    <a:lnTo>
                      <a:pt x="2461534" y="5713046"/>
                    </a:lnTo>
                    <a:lnTo>
                      <a:pt x="2475705" y="5594949"/>
                    </a:lnTo>
                    <a:lnTo>
                      <a:pt x="2615969" y="5518276"/>
                    </a:lnTo>
                    <a:lnTo>
                      <a:pt x="2734065" y="5487025"/>
                    </a:lnTo>
                    <a:lnTo>
                      <a:pt x="2723893" y="5378012"/>
                    </a:lnTo>
                    <a:lnTo>
                      <a:pt x="2869243" y="5401267"/>
                    </a:lnTo>
                    <a:lnTo>
                      <a:pt x="3023253" y="5343826"/>
                    </a:lnTo>
                    <a:lnTo>
                      <a:pt x="3188882" y="5333008"/>
                    </a:lnTo>
                    <a:lnTo>
                      <a:pt x="3086179" y="5162519"/>
                    </a:lnTo>
                    <a:lnTo>
                      <a:pt x="3100350" y="5055328"/>
                    </a:lnTo>
                    <a:lnTo>
                      <a:pt x="3027675" y="4905980"/>
                    </a:lnTo>
                    <a:lnTo>
                      <a:pt x="2996424" y="4730467"/>
                    </a:lnTo>
                    <a:lnTo>
                      <a:pt x="3000422" y="4612370"/>
                    </a:lnTo>
                    <a:lnTo>
                      <a:pt x="3049842" y="4490276"/>
                    </a:lnTo>
                    <a:lnTo>
                      <a:pt x="3177023" y="4495362"/>
                    </a:lnTo>
                    <a:lnTo>
                      <a:pt x="3241702" y="4436858"/>
                    </a:lnTo>
                    <a:lnTo>
                      <a:pt x="3208274" y="4330022"/>
                    </a:lnTo>
                    <a:lnTo>
                      <a:pt x="3149770" y="4222097"/>
                    </a:lnTo>
                    <a:lnTo>
                      <a:pt x="3068011" y="4171589"/>
                    </a:lnTo>
                    <a:lnTo>
                      <a:pt x="3027675" y="4018243"/>
                    </a:lnTo>
                    <a:lnTo>
                      <a:pt x="3150858" y="3915405"/>
                    </a:lnTo>
                    <a:lnTo>
                      <a:pt x="3291122" y="3793310"/>
                    </a:lnTo>
                    <a:lnTo>
                      <a:pt x="3426299" y="3734806"/>
                    </a:lnTo>
                    <a:lnTo>
                      <a:pt x="3534223" y="3658133"/>
                    </a:lnTo>
                    <a:lnTo>
                      <a:pt x="3547304" y="3559293"/>
                    </a:lnTo>
                    <a:lnTo>
                      <a:pt x="3505881" y="3331101"/>
                    </a:lnTo>
                    <a:lnTo>
                      <a:pt x="3464457" y="3245343"/>
                    </a:lnTo>
                    <a:lnTo>
                      <a:pt x="3446288" y="3118162"/>
                    </a:lnTo>
                    <a:lnTo>
                      <a:pt x="3528048" y="3091997"/>
                    </a:lnTo>
                    <a:lnTo>
                      <a:pt x="3560387" y="2986983"/>
                    </a:lnTo>
                    <a:lnTo>
                      <a:pt x="3411039" y="2964816"/>
                    </a:lnTo>
                    <a:lnTo>
                      <a:pt x="3292943" y="2951734"/>
                    </a:lnTo>
                    <a:lnTo>
                      <a:pt x="3183930" y="2788215"/>
                    </a:lnTo>
                    <a:lnTo>
                      <a:pt x="3234438" y="2703546"/>
                    </a:lnTo>
                    <a:lnTo>
                      <a:pt x="3179932" y="2608704"/>
                    </a:lnTo>
                    <a:lnTo>
                      <a:pt x="3229352" y="2437189"/>
                    </a:lnTo>
                    <a:lnTo>
                      <a:pt x="3317286" y="2356518"/>
                    </a:lnTo>
                    <a:lnTo>
                      <a:pt x="3162852" y="2141758"/>
                    </a:lnTo>
                    <a:lnTo>
                      <a:pt x="3058925" y="2006581"/>
                    </a:lnTo>
                    <a:lnTo>
                      <a:pt x="2986914" y="1900856"/>
                    </a:lnTo>
                    <a:lnTo>
                      <a:pt x="2958997" y="1752219"/>
                    </a:lnTo>
                    <a:lnTo>
                      <a:pt x="2982252" y="1607957"/>
                    </a:lnTo>
                    <a:lnTo>
                      <a:pt x="2935156" y="1462713"/>
                    </a:lnTo>
                    <a:lnTo>
                      <a:pt x="2766404" y="1281274"/>
                    </a:lnTo>
                    <a:lnTo>
                      <a:pt x="2567636" y="1109760"/>
                    </a:lnTo>
                    <a:lnTo>
                      <a:pt x="2449539" y="960412"/>
                    </a:lnTo>
                    <a:lnTo>
                      <a:pt x="2396901" y="881160"/>
                    </a:lnTo>
                    <a:lnTo>
                      <a:pt x="2278024" y="748561"/>
                    </a:lnTo>
                    <a:lnTo>
                      <a:pt x="2294371" y="595215"/>
                    </a:lnTo>
                    <a:lnTo>
                      <a:pt x="2176275" y="510546"/>
                    </a:lnTo>
                    <a:lnTo>
                      <a:pt x="2030925" y="524717"/>
                    </a:lnTo>
                    <a:lnTo>
                      <a:pt x="1968422" y="424789"/>
                    </a:lnTo>
                    <a:lnTo>
                      <a:pt x="1829247" y="376457"/>
                    </a:lnTo>
                    <a:lnTo>
                      <a:pt x="1630479" y="203854"/>
                    </a:lnTo>
                    <a:lnTo>
                      <a:pt x="1499300" y="177689"/>
                    </a:lnTo>
                    <a:lnTo>
                      <a:pt x="1395374" y="0"/>
                    </a:lnTo>
                    <a:lnTo>
                      <a:pt x="1292536" y="5087"/>
                    </a:lnTo>
                    <a:lnTo>
                      <a:pt x="1188209" y="65813"/>
                    </a:lnTo>
                    <a:lnTo>
                      <a:pt x="1080685" y="145348"/>
                    </a:lnTo>
                    <a:lnTo>
                      <a:pt x="1000014" y="185685"/>
                    </a:lnTo>
                    <a:lnTo>
                      <a:pt x="828499" y="198766"/>
                    </a:lnTo>
                    <a:lnTo>
                      <a:pt x="737656" y="271441"/>
                    </a:lnTo>
                    <a:lnTo>
                      <a:pt x="666069" y="230017"/>
                    </a:lnTo>
                    <a:lnTo>
                      <a:pt x="553058" y="339028"/>
                    </a:lnTo>
                    <a:lnTo>
                      <a:pt x="549060" y="420788"/>
                    </a:lnTo>
                    <a:lnTo>
                      <a:pt x="440048" y="406617"/>
                    </a:lnTo>
                    <a:lnTo>
                      <a:pt x="364463" y="474206"/>
                    </a:lnTo>
                    <a:lnTo>
                      <a:pt x="265623" y="532710"/>
                    </a:lnTo>
                    <a:lnTo>
                      <a:pt x="160609" y="604296"/>
                    </a:lnTo>
                    <a:lnTo>
                      <a:pt x="99928" y="734387"/>
                    </a:lnTo>
                    <a:lnTo>
                      <a:pt x="79938" y="892819"/>
                    </a:lnTo>
                    <a:lnTo>
                      <a:pt x="0" y="1018911"/>
                    </a:lnTo>
                    <a:lnTo>
                      <a:pt x="28925" y="112868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19" name="Freeform 155">
                <a:extLst>
                  <a:ext uri="{FF2B5EF4-FFF2-40B4-BE49-F238E27FC236}">
                    <a16:creationId xmlns:a16="http://schemas.microsoft.com/office/drawing/2014/main" id="{F8A0D489-8926-4CD2-8D23-E227F5BE2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3724" y="3151507"/>
                <a:ext cx="416996" cy="574353"/>
              </a:xfrm>
              <a:custGeom>
                <a:avLst/>
                <a:gdLst/>
                <a:ahLst/>
                <a:cxnLst>
                  <a:cxn ang="0">
                    <a:pos x="313" y="438"/>
                  </a:cxn>
                  <a:cxn ang="0">
                    <a:pos x="245" y="427"/>
                  </a:cxn>
                  <a:cxn ang="0">
                    <a:pos x="196" y="421"/>
                  </a:cxn>
                  <a:cxn ang="0">
                    <a:pos x="147" y="419"/>
                  </a:cxn>
                  <a:cxn ang="0">
                    <a:pos x="124" y="417"/>
                  </a:cxn>
                  <a:cxn ang="0">
                    <a:pos x="108" y="425"/>
                  </a:cxn>
                  <a:cxn ang="0">
                    <a:pos x="88" y="419"/>
                  </a:cxn>
                  <a:cxn ang="0">
                    <a:pos x="68" y="426"/>
                  </a:cxn>
                  <a:cxn ang="0">
                    <a:pos x="49" y="419"/>
                  </a:cxn>
                  <a:cxn ang="0">
                    <a:pos x="54" y="385"/>
                  </a:cxn>
                  <a:cxn ang="0">
                    <a:pos x="42" y="365"/>
                  </a:cxn>
                  <a:cxn ang="0">
                    <a:pos x="39" y="341"/>
                  </a:cxn>
                  <a:cxn ang="0">
                    <a:pos x="20" y="351"/>
                  </a:cxn>
                  <a:cxn ang="0">
                    <a:pos x="13" y="325"/>
                  </a:cxn>
                  <a:cxn ang="0">
                    <a:pos x="0" y="312"/>
                  </a:cxn>
                  <a:cxn ang="0">
                    <a:pos x="11" y="293"/>
                  </a:cxn>
                  <a:cxn ang="0">
                    <a:pos x="13" y="270"/>
                  </a:cxn>
                  <a:cxn ang="0">
                    <a:pos x="60" y="226"/>
                  </a:cxn>
                  <a:cxn ang="0">
                    <a:pos x="75" y="226"/>
                  </a:cxn>
                  <a:cxn ang="0">
                    <a:pos x="85" y="220"/>
                  </a:cxn>
                  <a:cxn ang="0">
                    <a:pos x="100" y="229"/>
                  </a:cxn>
                  <a:cxn ang="0">
                    <a:pos x="102" y="248"/>
                  </a:cxn>
                  <a:cxn ang="0">
                    <a:pos x="120" y="249"/>
                  </a:cxn>
                  <a:cxn ang="0">
                    <a:pos x="130" y="231"/>
                  </a:cxn>
                  <a:cxn ang="0">
                    <a:pos x="133" y="208"/>
                  </a:cxn>
                  <a:cxn ang="0">
                    <a:pos x="157" y="176"/>
                  </a:cxn>
                  <a:cxn ang="0">
                    <a:pos x="177" y="135"/>
                  </a:cxn>
                  <a:cxn ang="0">
                    <a:pos x="194" y="116"/>
                  </a:cxn>
                  <a:cxn ang="0">
                    <a:pos x="208" y="72"/>
                  </a:cxn>
                  <a:cxn ang="0">
                    <a:pos x="225" y="50"/>
                  </a:cxn>
                  <a:cxn ang="0">
                    <a:pos x="253" y="37"/>
                  </a:cxn>
                  <a:cxn ang="0">
                    <a:pos x="254" y="2"/>
                  </a:cxn>
                  <a:cxn ang="0">
                    <a:pos x="259" y="0"/>
                  </a:cxn>
                  <a:cxn ang="0">
                    <a:pos x="275" y="12"/>
                  </a:cxn>
                  <a:cxn ang="0">
                    <a:pos x="270" y="42"/>
                  </a:cxn>
                  <a:cxn ang="0">
                    <a:pos x="273" y="64"/>
                  </a:cxn>
                  <a:cxn ang="0">
                    <a:pos x="285" y="81"/>
                  </a:cxn>
                  <a:cxn ang="0">
                    <a:pos x="294" y="99"/>
                  </a:cxn>
                  <a:cxn ang="0">
                    <a:pos x="245" y="99"/>
                  </a:cxn>
                  <a:cxn ang="0">
                    <a:pos x="225" y="118"/>
                  </a:cxn>
                  <a:cxn ang="0">
                    <a:pos x="248" y="140"/>
                  </a:cxn>
                  <a:cxn ang="0">
                    <a:pos x="264" y="147"/>
                  </a:cxn>
                  <a:cxn ang="0">
                    <a:pos x="285" y="185"/>
                  </a:cxn>
                  <a:cxn ang="0">
                    <a:pos x="290" y="202"/>
                  </a:cxn>
                  <a:cxn ang="0">
                    <a:pos x="260" y="234"/>
                  </a:cxn>
                  <a:cxn ang="0">
                    <a:pos x="254" y="264"/>
                  </a:cxn>
                  <a:cxn ang="0">
                    <a:pos x="253" y="320"/>
                  </a:cxn>
                  <a:cxn ang="0">
                    <a:pos x="266" y="331"/>
                  </a:cxn>
                  <a:cxn ang="0">
                    <a:pos x="278" y="361"/>
                  </a:cxn>
                  <a:cxn ang="0">
                    <a:pos x="304" y="384"/>
                  </a:cxn>
                  <a:cxn ang="0">
                    <a:pos x="318" y="408"/>
                  </a:cxn>
                  <a:cxn ang="0">
                    <a:pos x="313" y="438"/>
                  </a:cxn>
                </a:cxnLst>
                <a:rect l="0" t="0" r="r" b="b"/>
                <a:pathLst>
                  <a:path w="318" h="438">
                    <a:moveTo>
                      <a:pt x="313" y="438"/>
                    </a:moveTo>
                    <a:lnTo>
                      <a:pt x="245" y="427"/>
                    </a:lnTo>
                    <a:lnTo>
                      <a:pt x="196" y="421"/>
                    </a:lnTo>
                    <a:lnTo>
                      <a:pt x="147" y="419"/>
                    </a:lnTo>
                    <a:lnTo>
                      <a:pt x="124" y="417"/>
                    </a:lnTo>
                    <a:lnTo>
                      <a:pt x="108" y="425"/>
                    </a:lnTo>
                    <a:lnTo>
                      <a:pt x="88" y="419"/>
                    </a:lnTo>
                    <a:lnTo>
                      <a:pt x="68" y="426"/>
                    </a:lnTo>
                    <a:lnTo>
                      <a:pt x="49" y="419"/>
                    </a:lnTo>
                    <a:lnTo>
                      <a:pt x="54" y="385"/>
                    </a:lnTo>
                    <a:lnTo>
                      <a:pt x="42" y="365"/>
                    </a:lnTo>
                    <a:lnTo>
                      <a:pt x="39" y="341"/>
                    </a:lnTo>
                    <a:lnTo>
                      <a:pt x="20" y="351"/>
                    </a:lnTo>
                    <a:lnTo>
                      <a:pt x="13" y="325"/>
                    </a:lnTo>
                    <a:lnTo>
                      <a:pt x="0" y="312"/>
                    </a:lnTo>
                    <a:lnTo>
                      <a:pt x="11" y="293"/>
                    </a:lnTo>
                    <a:lnTo>
                      <a:pt x="13" y="270"/>
                    </a:lnTo>
                    <a:lnTo>
                      <a:pt x="60" y="226"/>
                    </a:lnTo>
                    <a:lnTo>
                      <a:pt x="75" y="226"/>
                    </a:lnTo>
                    <a:lnTo>
                      <a:pt x="85" y="220"/>
                    </a:lnTo>
                    <a:lnTo>
                      <a:pt x="100" y="229"/>
                    </a:lnTo>
                    <a:lnTo>
                      <a:pt x="102" y="248"/>
                    </a:lnTo>
                    <a:lnTo>
                      <a:pt x="120" y="249"/>
                    </a:lnTo>
                    <a:lnTo>
                      <a:pt x="130" y="231"/>
                    </a:lnTo>
                    <a:lnTo>
                      <a:pt x="133" y="208"/>
                    </a:lnTo>
                    <a:lnTo>
                      <a:pt x="157" y="176"/>
                    </a:lnTo>
                    <a:lnTo>
                      <a:pt x="177" y="135"/>
                    </a:lnTo>
                    <a:lnTo>
                      <a:pt x="194" y="116"/>
                    </a:lnTo>
                    <a:lnTo>
                      <a:pt x="208" y="72"/>
                    </a:lnTo>
                    <a:lnTo>
                      <a:pt x="225" y="50"/>
                    </a:lnTo>
                    <a:lnTo>
                      <a:pt x="253" y="37"/>
                    </a:lnTo>
                    <a:lnTo>
                      <a:pt x="254" y="2"/>
                    </a:lnTo>
                    <a:lnTo>
                      <a:pt x="259" y="0"/>
                    </a:lnTo>
                    <a:lnTo>
                      <a:pt x="275" y="12"/>
                    </a:lnTo>
                    <a:lnTo>
                      <a:pt x="270" y="42"/>
                    </a:lnTo>
                    <a:lnTo>
                      <a:pt x="273" y="64"/>
                    </a:lnTo>
                    <a:lnTo>
                      <a:pt x="285" y="81"/>
                    </a:lnTo>
                    <a:lnTo>
                      <a:pt x="294" y="99"/>
                    </a:lnTo>
                    <a:lnTo>
                      <a:pt x="245" y="99"/>
                    </a:lnTo>
                    <a:lnTo>
                      <a:pt x="225" y="118"/>
                    </a:lnTo>
                    <a:lnTo>
                      <a:pt x="248" y="140"/>
                    </a:lnTo>
                    <a:lnTo>
                      <a:pt x="264" y="147"/>
                    </a:lnTo>
                    <a:lnTo>
                      <a:pt x="285" y="185"/>
                    </a:lnTo>
                    <a:lnTo>
                      <a:pt x="290" y="202"/>
                    </a:lnTo>
                    <a:lnTo>
                      <a:pt x="260" y="234"/>
                    </a:lnTo>
                    <a:lnTo>
                      <a:pt x="254" y="264"/>
                    </a:lnTo>
                    <a:lnTo>
                      <a:pt x="253" y="320"/>
                    </a:lnTo>
                    <a:lnTo>
                      <a:pt x="266" y="331"/>
                    </a:lnTo>
                    <a:lnTo>
                      <a:pt x="278" y="361"/>
                    </a:lnTo>
                    <a:lnTo>
                      <a:pt x="304" y="384"/>
                    </a:lnTo>
                    <a:lnTo>
                      <a:pt x="318" y="408"/>
                    </a:lnTo>
                    <a:lnTo>
                      <a:pt x="313" y="438"/>
                    </a:lnTo>
                    <a:close/>
                  </a:path>
                </a:pathLst>
              </a:custGeom>
              <a:solidFill>
                <a:srgbClr val="0069B3"/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22" name="Freeform 156">
                <a:extLst>
                  <a:ext uri="{FF2B5EF4-FFF2-40B4-BE49-F238E27FC236}">
                    <a16:creationId xmlns:a16="http://schemas.microsoft.com/office/drawing/2014/main" id="{6380E8CC-89A6-4966-9639-5338082DB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3039" y="2836793"/>
                <a:ext cx="355365" cy="298978"/>
              </a:xfrm>
              <a:custGeom>
                <a:avLst/>
                <a:gdLst/>
                <a:ahLst/>
                <a:cxnLst>
                  <a:cxn ang="0">
                    <a:pos x="1248" y="1024"/>
                  </a:cxn>
                  <a:cxn ang="0">
                    <a:pos x="1212" y="1072"/>
                  </a:cxn>
                  <a:cxn ang="0">
                    <a:pos x="1154" y="1072"/>
                  </a:cxn>
                  <a:cxn ang="0">
                    <a:pos x="938" y="901"/>
                  </a:cxn>
                  <a:cxn ang="0">
                    <a:pos x="860" y="780"/>
                  </a:cxn>
                  <a:cxn ang="0">
                    <a:pos x="689" y="700"/>
                  </a:cxn>
                  <a:cxn ang="0">
                    <a:pos x="609" y="712"/>
                  </a:cxn>
                  <a:cxn ang="0">
                    <a:pos x="527" y="670"/>
                  </a:cxn>
                  <a:cxn ang="0">
                    <a:pos x="398" y="712"/>
                  </a:cxn>
                  <a:cxn ang="0">
                    <a:pos x="306" y="646"/>
                  </a:cxn>
                  <a:cxn ang="0">
                    <a:pos x="228" y="789"/>
                  </a:cxn>
                  <a:cxn ang="0">
                    <a:pos x="144" y="706"/>
                  </a:cxn>
                  <a:cxn ang="0">
                    <a:pos x="24" y="769"/>
                  </a:cxn>
                  <a:cxn ang="0">
                    <a:pos x="0" y="621"/>
                  </a:cxn>
                  <a:cxn ang="0">
                    <a:pos x="66" y="406"/>
                  </a:cxn>
                  <a:cxn ang="0">
                    <a:pos x="72" y="226"/>
                  </a:cxn>
                  <a:cxn ang="0">
                    <a:pos x="149" y="208"/>
                  </a:cxn>
                  <a:cxn ang="0">
                    <a:pos x="204" y="136"/>
                  </a:cxn>
                  <a:cxn ang="0">
                    <a:pos x="324" y="82"/>
                  </a:cxn>
                  <a:cxn ang="0">
                    <a:pos x="359" y="0"/>
                  </a:cxn>
                  <a:cxn ang="0">
                    <a:pos x="426" y="130"/>
                  </a:cxn>
                  <a:cxn ang="0">
                    <a:pos x="486" y="286"/>
                  </a:cxn>
                  <a:cxn ang="0">
                    <a:pos x="504" y="430"/>
                  </a:cxn>
                  <a:cxn ang="0">
                    <a:pos x="572" y="504"/>
                  </a:cxn>
                  <a:cxn ang="0">
                    <a:pos x="714" y="580"/>
                  </a:cxn>
                  <a:cxn ang="0">
                    <a:pos x="876" y="652"/>
                  </a:cxn>
                  <a:cxn ang="0">
                    <a:pos x="966" y="760"/>
                  </a:cxn>
                  <a:cxn ang="0">
                    <a:pos x="1086" y="844"/>
                  </a:cxn>
                  <a:cxn ang="0">
                    <a:pos x="1248" y="1024"/>
                  </a:cxn>
                </a:cxnLst>
                <a:rect l="0" t="0" r="r" b="b"/>
                <a:pathLst>
                  <a:path w="1248" h="1072">
                    <a:moveTo>
                      <a:pt x="1248" y="1024"/>
                    </a:moveTo>
                    <a:lnTo>
                      <a:pt x="1212" y="1072"/>
                    </a:lnTo>
                    <a:lnTo>
                      <a:pt x="1154" y="1072"/>
                    </a:lnTo>
                    <a:lnTo>
                      <a:pt x="938" y="901"/>
                    </a:lnTo>
                    <a:lnTo>
                      <a:pt x="860" y="780"/>
                    </a:lnTo>
                    <a:lnTo>
                      <a:pt x="689" y="700"/>
                    </a:lnTo>
                    <a:lnTo>
                      <a:pt x="609" y="712"/>
                    </a:lnTo>
                    <a:lnTo>
                      <a:pt x="527" y="670"/>
                    </a:lnTo>
                    <a:lnTo>
                      <a:pt x="398" y="712"/>
                    </a:lnTo>
                    <a:lnTo>
                      <a:pt x="306" y="646"/>
                    </a:lnTo>
                    <a:lnTo>
                      <a:pt x="228" y="789"/>
                    </a:lnTo>
                    <a:lnTo>
                      <a:pt x="144" y="706"/>
                    </a:lnTo>
                    <a:lnTo>
                      <a:pt x="24" y="769"/>
                    </a:lnTo>
                    <a:lnTo>
                      <a:pt x="0" y="621"/>
                    </a:lnTo>
                    <a:lnTo>
                      <a:pt x="66" y="406"/>
                    </a:lnTo>
                    <a:lnTo>
                      <a:pt x="72" y="226"/>
                    </a:lnTo>
                    <a:lnTo>
                      <a:pt x="149" y="208"/>
                    </a:lnTo>
                    <a:lnTo>
                      <a:pt x="204" y="136"/>
                    </a:lnTo>
                    <a:lnTo>
                      <a:pt x="324" y="82"/>
                    </a:lnTo>
                    <a:lnTo>
                      <a:pt x="359" y="0"/>
                    </a:lnTo>
                    <a:lnTo>
                      <a:pt x="426" y="130"/>
                    </a:lnTo>
                    <a:lnTo>
                      <a:pt x="486" y="286"/>
                    </a:lnTo>
                    <a:lnTo>
                      <a:pt x="504" y="430"/>
                    </a:lnTo>
                    <a:lnTo>
                      <a:pt x="572" y="504"/>
                    </a:lnTo>
                    <a:lnTo>
                      <a:pt x="714" y="580"/>
                    </a:lnTo>
                    <a:lnTo>
                      <a:pt x="876" y="652"/>
                    </a:lnTo>
                    <a:lnTo>
                      <a:pt x="966" y="760"/>
                    </a:lnTo>
                    <a:lnTo>
                      <a:pt x="1086" y="844"/>
                    </a:lnTo>
                    <a:lnTo>
                      <a:pt x="1248" y="10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23" name="Freeform 157">
                <a:extLst>
                  <a:ext uri="{FF2B5EF4-FFF2-40B4-BE49-F238E27FC236}">
                    <a16:creationId xmlns:a16="http://schemas.microsoft.com/office/drawing/2014/main" id="{8643DA9B-87BC-44D1-8F87-E2A9146C1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8084" y="3123969"/>
                <a:ext cx="86546" cy="91792"/>
              </a:xfrm>
              <a:custGeom>
                <a:avLst/>
                <a:gdLst/>
                <a:ahLst/>
                <a:cxnLst>
                  <a:cxn ang="0">
                    <a:pos x="209" y="0"/>
                  </a:cxn>
                  <a:cxn ang="0">
                    <a:pos x="173" y="46"/>
                  </a:cxn>
                  <a:cxn ang="0">
                    <a:pos x="113" y="46"/>
                  </a:cxn>
                  <a:cxn ang="0">
                    <a:pos x="33" y="160"/>
                  </a:cxn>
                  <a:cxn ang="0">
                    <a:pos x="0" y="246"/>
                  </a:cxn>
                  <a:cxn ang="0">
                    <a:pos x="12" y="328"/>
                  </a:cxn>
                  <a:cxn ang="0">
                    <a:pos x="135" y="334"/>
                  </a:cxn>
                  <a:cxn ang="0">
                    <a:pos x="251" y="298"/>
                  </a:cxn>
                  <a:cxn ang="0">
                    <a:pos x="303" y="256"/>
                  </a:cxn>
                  <a:cxn ang="0">
                    <a:pos x="273" y="208"/>
                  </a:cxn>
                  <a:cxn ang="0">
                    <a:pos x="210" y="214"/>
                  </a:cxn>
                  <a:cxn ang="0">
                    <a:pos x="174" y="247"/>
                  </a:cxn>
                  <a:cxn ang="0">
                    <a:pos x="135" y="247"/>
                  </a:cxn>
                  <a:cxn ang="0">
                    <a:pos x="123" y="222"/>
                  </a:cxn>
                  <a:cxn ang="0">
                    <a:pos x="171" y="193"/>
                  </a:cxn>
                  <a:cxn ang="0">
                    <a:pos x="225" y="142"/>
                  </a:cxn>
                  <a:cxn ang="0">
                    <a:pos x="303" y="130"/>
                  </a:cxn>
                  <a:cxn ang="0">
                    <a:pos x="291" y="73"/>
                  </a:cxn>
                  <a:cxn ang="0">
                    <a:pos x="255" y="31"/>
                  </a:cxn>
                  <a:cxn ang="0">
                    <a:pos x="209" y="0"/>
                  </a:cxn>
                </a:cxnLst>
                <a:rect l="0" t="0" r="r" b="b"/>
                <a:pathLst>
                  <a:path w="303" h="334">
                    <a:moveTo>
                      <a:pt x="209" y="0"/>
                    </a:moveTo>
                    <a:lnTo>
                      <a:pt x="173" y="46"/>
                    </a:lnTo>
                    <a:lnTo>
                      <a:pt x="113" y="46"/>
                    </a:lnTo>
                    <a:lnTo>
                      <a:pt x="33" y="160"/>
                    </a:lnTo>
                    <a:lnTo>
                      <a:pt x="0" y="246"/>
                    </a:lnTo>
                    <a:lnTo>
                      <a:pt x="12" y="328"/>
                    </a:lnTo>
                    <a:lnTo>
                      <a:pt x="135" y="334"/>
                    </a:lnTo>
                    <a:lnTo>
                      <a:pt x="251" y="298"/>
                    </a:lnTo>
                    <a:lnTo>
                      <a:pt x="303" y="256"/>
                    </a:lnTo>
                    <a:lnTo>
                      <a:pt x="273" y="208"/>
                    </a:lnTo>
                    <a:lnTo>
                      <a:pt x="210" y="214"/>
                    </a:lnTo>
                    <a:lnTo>
                      <a:pt x="174" y="247"/>
                    </a:lnTo>
                    <a:lnTo>
                      <a:pt x="135" y="247"/>
                    </a:lnTo>
                    <a:lnTo>
                      <a:pt x="123" y="222"/>
                    </a:lnTo>
                    <a:lnTo>
                      <a:pt x="171" y="193"/>
                    </a:lnTo>
                    <a:lnTo>
                      <a:pt x="225" y="142"/>
                    </a:lnTo>
                    <a:lnTo>
                      <a:pt x="303" y="130"/>
                    </a:lnTo>
                    <a:lnTo>
                      <a:pt x="291" y="73"/>
                    </a:lnTo>
                    <a:lnTo>
                      <a:pt x="255" y="31"/>
                    </a:lnTo>
                    <a:lnTo>
                      <a:pt x="209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grpSp>
            <p:nvGrpSpPr>
              <p:cNvPr id="324" name="Group 158">
                <a:extLst>
                  <a:ext uri="{FF2B5EF4-FFF2-40B4-BE49-F238E27FC236}">
                    <a16:creationId xmlns:a16="http://schemas.microsoft.com/office/drawing/2014/main" id="{F3B25A01-EE41-42A4-9EBE-4E30C341592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874469" y="4314637"/>
                <a:ext cx="346185" cy="211121"/>
                <a:chOff x="2911" y="2606"/>
                <a:chExt cx="691" cy="412"/>
              </a:xfrm>
              <a:solidFill>
                <a:schemeClr val="bg1">
                  <a:lumMod val="85000"/>
                </a:schemeClr>
              </a:solidFill>
              <a:effectLst/>
            </p:grpSpPr>
            <p:sp>
              <p:nvSpPr>
                <p:cNvPr id="334" name="Freeform 159">
                  <a:extLst>
                    <a:ext uri="{FF2B5EF4-FFF2-40B4-BE49-F238E27FC236}">
                      <a16:creationId xmlns:a16="http://schemas.microsoft.com/office/drawing/2014/main" id="{0944999C-E7A9-4216-A61C-DE23665926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1" y="2887"/>
                  <a:ext cx="42" cy="82"/>
                </a:xfrm>
                <a:custGeom>
                  <a:avLst/>
                  <a:gdLst/>
                  <a:ahLst/>
                  <a:cxnLst>
                    <a:cxn ang="0">
                      <a:pos x="22" y="72"/>
                    </a:cxn>
                    <a:cxn ang="0">
                      <a:pos x="0" y="122"/>
                    </a:cxn>
                    <a:cxn ang="0">
                      <a:pos x="0" y="222"/>
                    </a:cxn>
                    <a:cxn ang="0">
                      <a:pos x="64" y="258"/>
                    </a:cxn>
                    <a:cxn ang="0">
                      <a:pos x="116" y="342"/>
                    </a:cxn>
                    <a:cxn ang="0">
                      <a:pos x="164" y="306"/>
                    </a:cxn>
                    <a:cxn ang="0">
                      <a:pos x="124" y="226"/>
                    </a:cxn>
                    <a:cxn ang="0">
                      <a:pos x="100" y="158"/>
                    </a:cxn>
                    <a:cxn ang="0">
                      <a:pos x="176" y="78"/>
                    </a:cxn>
                    <a:cxn ang="0">
                      <a:pos x="144" y="18"/>
                    </a:cxn>
                    <a:cxn ang="0">
                      <a:pos x="82" y="0"/>
                    </a:cxn>
                    <a:cxn ang="0">
                      <a:pos x="22" y="72"/>
                    </a:cxn>
                  </a:cxnLst>
                  <a:rect l="0" t="0" r="r" b="b"/>
                  <a:pathLst>
                    <a:path w="176" h="342">
                      <a:moveTo>
                        <a:pt x="22" y="72"/>
                      </a:moveTo>
                      <a:lnTo>
                        <a:pt x="0" y="122"/>
                      </a:lnTo>
                      <a:lnTo>
                        <a:pt x="0" y="222"/>
                      </a:lnTo>
                      <a:lnTo>
                        <a:pt x="64" y="258"/>
                      </a:lnTo>
                      <a:lnTo>
                        <a:pt x="116" y="342"/>
                      </a:lnTo>
                      <a:lnTo>
                        <a:pt x="164" y="306"/>
                      </a:lnTo>
                      <a:lnTo>
                        <a:pt x="124" y="226"/>
                      </a:lnTo>
                      <a:lnTo>
                        <a:pt x="100" y="158"/>
                      </a:lnTo>
                      <a:lnTo>
                        <a:pt x="176" y="78"/>
                      </a:lnTo>
                      <a:lnTo>
                        <a:pt x="144" y="18"/>
                      </a:lnTo>
                      <a:lnTo>
                        <a:pt x="82" y="0"/>
                      </a:lnTo>
                      <a:lnTo>
                        <a:pt x="22" y="7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5" name="Freeform 160">
                  <a:extLst>
                    <a:ext uri="{FF2B5EF4-FFF2-40B4-BE49-F238E27FC236}">
                      <a16:creationId xmlns:a16="http://schemas.microsoft.com/office/drawing/2014/main" id="{83A92E18-8B14-483E-8673-15049BC01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1" y="2652"/>
                  <a:ext cx="37" cy="49"/>
                </a:xfrm>
                <a:custGeom>
                  <a:avLst/>
                  <a:gdLst/>
                  <a:ahLst/>
                  <a:cxnLst>
                    <a:cxn ang="0">
                      <a:pos x="22" y="43"/>
                    </a:cxn>
                    <a:cxn ang="0">
                      <a:pos x="0" y="93"/>
                    </a:cxn>
                    <a:cxn ang="0">
                      <a:pos x="59" y="159"/>
                    </a:cxn>
                    <a:cxn ang="0">
                      <a:pos x="89" y="207"/>
                    </a:cxn>
                    <a:cxn ang="0">
                      <a:pos x="152" y="180"/>
                    </a:cxn>
                    <a:cxn ang="0">
                      <a:pos x="155" y="120"/>
                    </a:cxn>
                    <a:cxn ang="0">
                      <a:pos x="134" y="60"/>
                    </a:cxn>
                    <a:cxn ang="0">
                      <a:pos x="101" y="18"/>
                    </a:cxn>
                    <a:cxn ang="0">
                      <a:pos x="53" y="0"/>
                    </a:cxn>
                    <a:cxn ang="0">
                      <a:pos x="22" y="43"/>
                    </a:cxn>
                  </a:cxnLst>
                  <a:rect l="0" t="0" r="r" b="b"/>
                  <a:pathLst>
                    <a:path w="155" h="207">
                      <a:moveTo>
                        <a:pt x="22" y="43"/>
                      </a:moveTo>
                      <a:lnTo>
                        <a:pt x="0" y="93"/>
                      </a:lnTo>
                      <a:lnTo>
                        <a:pt x="59" y="159"/>
                      </a:lnTo>
                      <a:lnTo>
                        <a:pt x="89" y="207"/>
                      </a:lnTo>
                      <a:lnTo>
                        <a:pt x="152" y="180"/>
                      </a:lnTo>
                      <a:lnTo>
                        <a:pt x="155" y="120"/>
                      </a:lnTo>
                      <a:lnTo>
                        <a:pt x="134" y="60"/>
                      </a:lnTo>
                      <a:lnTo>
                        <a:pt x="101" y="18"/>
                      </a:lnTo>
                      <a:lnTo>
                        <a:pt x="53" y="0"/>
                      </a:lnTo>
                      <a:lnTo>
                        <a:pt x="22" y="43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6" name="Freeform 161">
                  <a:extLst>
                    <a:ext uri="{FF2B5EF4-FFF2-40B4-BE49-F238E27FC236}">
                      <a16:creationId xmlns:a16="http://schemas.microsoft.com/office/drawing/2014/main" id="{1312E5EA-DBEC-405C-B3D1-3BF67443D5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7" y="2984"/>
                  <a:ext cx="35" cy="34"/>
                </a:xfrm>
                <a:custGeom>
                  <a:avLst/>
                  <a:gdLst/>
                  <a:ahLst/>
                  <a:cxnLst>
                    <a:cxn ang="0">
                      <a:pos x="46" y="0"/>
                    </a:cxn>
                    <a:cxn ang="0">
                      <a:pos x="0" y="42"/>
                    </a:cxn>
                    <a:cxn ang="0">
                      <a:pos x="38" y="100"/>
                    </a:cxn>
                    <a:cxn ang="0">
                      <a:pos x="90" y="140"/>
                    </a:cxn>
                    <a:cxn ang="0">
                      <a:pos x="146" y="104"/>
                    </a:cxn>
                    <a:cxn ang="0">
                      <a:pos x="138" y="48"/>
                    </a:cxn>
                    <a:cxn ang="0">
                      <a:pos x="106" y="4"/>
                    </a:cxn>
                    <a:cxn ang="0">
                      <a:pos x="46" y="0"/>
                    </a:cxn>
                  </a:cxnLst>
                  <a:rect l="0" t="0" r="r" b="b"/>
                  <a:pathLst>
                    <a:path w="146" h="140">
                      <a:moveTo>
                        <a:pt x="46" y="0"/>
                      </a:moveTo>
                      <a:lnTo>
                        <a:pt x="0" y="42"/>
                      </a:lnTo>
                      <a:lnTo>
                        <a:pt x="38" y="100"/>
                      </a:lnTo>
                      <a:lnTo>
                        <a:pt x="90" y="140"/>
                      </a:lnTo>
                      <a:lnTo>
                        <a:pt x="146" y="104"/>
                      </a:lnTo>
                      <a:lnTo>
                        <a:pt x="138" y="48"/>
                      </a:lnTo>
                      <a:lnTo>
                        <a:pt x="106" y="4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7" name="Freeform 162">
                  <a:extLst>
                    <a:ext uri="{FF2B5EF4-FFF2-40B4-BE49-F238E27FC236}">
                      <a16:creationId xmlns:a16="http://schemas.microsoft.com/office/drawing/2014/main" id="{A6BA5B59-C950-403C-932B-AE21026DC1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" y="2978"/>
                  <a:ext cx="30" cy="31"/>
                </a:xfrm>
                <a:custGeom>
                  <a:avLst/>
                  <a:gdLst/>
                  <a:ahLst/>
                  <a:cxnLst>
                    <a:cxn ang="0">
                      <a:pos x="46" y="0"/>
                    </a:cxn>
                    <a:cxn ang="0">
                      <a:pos x="0" y="42"/>
                    </a:cxn>
                    <a:cxn ang="0">
                      <a:pos x="38" y="100"/>
                    </a:cxn>
                    <a:cxn ang="0">
                      <a:pos x="70" y="132"/>
                    </a:cxn>
                    <a:cxn ang="0">
                      <a:pos x="126" y="116"/>
                    </a:cxn>
                    <a:cxn ang="0">
                      <a:pos x="122" y="60"/>
                    </a:cxn>
                    <a:cxn ang="0">
                      <a:pos x="106" y="4"/>
                    </a:cxn>
                    <a:cxn ang="0">
                      <a:pos x="46" y="0"/>
                    </a:cxn>
                  </a:cxnLst>
                  <a:rect l="0" t="0" r="r" b="b"/>
                  <a:pathLst>
                    <a:path w="126" h="132">
                      <a:moveTo>
                        <a:pt x="46" y="0"/>
                      </a:moveTo>
                      <a:lnTo>
                        <a:pt x="0" y="42"/>
                      </a:lnTo>
                      <a:lnTo>
                        <a:pt x="38" y="100"/>
                      </a:lnTo>
                      <a:lnTo>
                        <a:pt x="70" y="132"/>
                      </a:lnTo>
                      <a:lnTo>
                        <a:pt x="126" y="116"/>
                      </a:lnTo>
                      <a:lnTo>
                        <a:pt x="122" y="60"/>
                      </a:lnTo>
                      <a:lnTo>
                        <a:pt x="106" y="4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8" name="Freeform 163">
                  <a:extLst>
                    <a:ext uri="{FF2B5EF4-FFF2-40B4-BE49-F238E27FC236}">
                      <a16:creationId xmlns:a16="http://schemas.microsoft.com/office/drawing/2014/main" id="{E42F8ADA-8534-4CE9-9227-A88005BC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0" y="2843"/>
                  <a:ext cx="42" cy="45"/>
                </a:xfrm>
                <a:custGeom>
                  <a:avLst/>
                  <a:gdLst/>
                  <a:ahLst/>
                  <a:cxnLst>
                    <a:cxn ang="0">
                      <a:pos x="46" y="21"/>
                    </a:cxn>
                    <a:cxn ang="0">
                      <a:pos x="0" y="63"/>
                    </a:cxn>
                    <a:cxn ang="0">
                      <a:pos x="38" y="121"/>
                    </a:cxn>
                    <a:cxn ang="0">
                      <a:pos x="71" y="186"/>
                    </a:cxn>
                    <a:cxn ang="0">
                      <a:pos x="119" y="180"/>
                    </a:cxn>
                    <a:cxn ang="0">
                      <a:pos x="176" y="111"/>
                    </a:cxn>
                    <a:cxn ang="0">
                      <a:pos x="167" y="66"/>
                    </a:cxn>
                    <a:cxn ang="0">
                      <a:pos x="119" y="96"/>
                    </a:cxn>
                    <a:cxn ang="0">
                      <a:pos x="83" y="69"/>
                    </a:cxn>
                    <a:cxn ang="0">
                      <a:pos x="107" y="36"/>
                    </a:cxn>
                    <a:cxn ang="0">
                      <a:pos x="98" y="0"/>
                    </a:cxn>
                    <a:cxn ang="0">
                      <a:pos x="46" y="21"/>
                    </a:cxn>
                  </a:cxnLst>
                  <a:rect l="0" t="0" r="r" b="b"/>
                  <a:pathLst>
                    <a:path w="176" h="186">
                      <a:moveTo>
                        <a:pt x="46" y="21"/>
                      </a:moveTo>
                      <a:lnTo>
                        <a:pt x="0" y="63"/>
                      </a:lnTo>
                      <a:lnTo>
                        <a:pt x="38" y="121"/>
                      </a:lnTo>
                      <a:lnTo>
                        <a:pt x="71" y="186"/>
                      </a:lnTo>
                      <a:lnTo>
                        <a:pt x="119" y="180"/>
                      </a:lnTo>
                      <a:lnTo>
                        <a:pt x="176" y="111"/>
                      </a:lnTo>
                      <a:lnTo>
                        <a:pt x="167" y="66"/>
                      </a:lnTo>
                      <a:lnTo>
                        <a:pt x="119" y="96"/>
                      </a:lnTo>
                      <a:lnTo>
                        <a:pt x="83" y="69"/>
                      </a:lnTo>
                      <a:lnTo>
                        <a:pt x="107" y="36"/>
                      </a:lnTo>
                      <a:lnTo>
                        <a:pt x="98" y="0"/>
                      </a:lnTo>
                      <a:lnTo>
                        <a:pt x="46" y="21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9" name="Freeform 164">
                  <a:extLst>
                    <a:ext uri="{FF2B5EF4-FFF2-40B4-BE49-F238E27FC236}">
                      <a16:creationId xmlns:a16="http://schemas.microsoft.com/office/drawing/2014/main" id="{FA9DDFD2-B27A-4559-AC89-F7FAAD8AF8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0" y="2894"/>
                  <a:ext cx="37" cy="26"/>
                </a:xfrm>
                <a:custGeom>
                  <a:avLst/>
                  <a:gdLst/>
                  <a:ahLst/>
                  <a:cxnLst>
                    <a:cxn ang="0">
                      <a:pos x="36" y="0"/>
                    </a:cxn>
                    <a:cxn ang="0">
                      <a:pos x="0" y="32"/>
                    </a:cxn>
                    <a:cxn ang="0">
                      <a:pos x="38" y="90"/>
                    </a:cxn>
                    <a:cxn ang="0">
                      <a:pos x="96" y="108"/>
                    </a:cxn>
                    <a:cxn ang="0">
                      <a:pos x="126" y="106"/>
                    </a:cxn>
                    <a:cxn ang="0">
                      <a:pos x="153" y="66"/>
                    </a:cxn>
                    <a:cxn ang="0">
                      <a:pos x="99" y="3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153" h="108">
                      <a:moveTo>
                        <a:pt x="36" y="0"/>
                      </a:moveTo>
                      <a:lnTo>
                        <a:pt x="0" y="32"/>
                      </a:lnTo>
                      <a:lnTo>
                        <a:pt x="38" y="90"/>
                      </a:lnTo>
                      <a:lnTo>
                        <a:pt x="96" y="108"/>
                      </a:lnTo>
                      <a:lnTo>
                        <a:pt x="126" y="106"/>
                      </a:lnTo>
                      <a:lnTo>
                        <a:pt x="153" y="66"/>
                      </a:lnTo>
                      <a:lnTo>
                        <a:pt x="99" y="3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0" name="Freeform 165">
                  <a:extLst>
                    <a:ext uri="{FF2B5EF4-FFF2-40B4-BE49-F238E27FC236}">
                      <a16:creationId xmlns:a16="http://schemas.microsoft.com/office/drawing/2014/main" id="{5543D802-CC07-4F32-8D31-E8D3274904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8" y="2829"/>
                  <a:ext cx="27" cy="24"/>
                </a:xfrm>
                <a:custGeom>
                  <a:avLst/>
                  <a:gdLst/>
                  <a:ahLst/>
                  <a:cxnLst>
                    <a:cxn ang="0">
                      <a:pos x="46" y="0"/>
                    </a:cxn>
                    <a:cxn ang="0">
                      <a:pos x="0" y="42"/>
                    </a:cxn>
                    <a:cxn ang="0">
                      <a:pos x="38" y="100"/>
                    </a:cxn>
                    <a:cxn ang="0">
                      <a:pos x="87" y="94"/>
                    </a:cxn>
                    <a:cxn ang="0">
                      <a:pos x="111" y="58"/>
                    </a:cxn>
                    <a:cxn ang="0">
                      <a:pos x="106" y="4"/>
                    </a:cxn>
                    <a:cxn ang="0">
                      <a:pos x="46" y="0"/>
                    </a:cxn>
                  </a:cxnLst>
                  <a:rect l="0" t="0" r="r" b="b"/>
                  <a:pathLst>
                    <a:path w="111" h="100">
                      <a:moveTo>
                        <a:pt x="46" y="0"/>
                      </a:moveTo>
                      <a:lnTo>
                        <a:pt x="0" y="42"/>
                      </a:lnTo>
                      <a:lnTo>
                        <a:pt x="38" y="100"/>
                      </a:lnTo>
                      <a:lnTo>
                        <a:pt x="87" y="94"/>
                      </a:lnTo>
                      <a:lnTo>
                        <a:pt x="111" y="58"/>
                      </a:lnTo>
                      <a:lnTo>
                        <a:pt x="106" y="4"/>
                      </a:lnTo>
                      <a:lnTo>
                        <a:pt x="46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1" name="Freeform 166">
                  <a:extLst>
                    <a:ext uri="{FF2B5EF4-FFF2-40B4-BE49-F238E27FC236}">
                      <a16:creationId xmlns:a16="http://schemas.microsoft.com/office/drawing/2014/main" id="{2B6EAFDA-747F-4499-8CB1-E5ECDF6CA4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0" y="2872"/>
                  <a:ext cx="14" cy="18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27"/>
                    </a:cxn>
                    <a:cxn ang="0">
                      <a:pos x="14" y="75"/>
                    </a:cxn>
                    <a:cxn ang="0">
                      <a:pos x="57" y="66"/>
                    </a:cxn>
                    <a:cxn ang="0">
                      <a:pos x="60" y="21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60" h="75">
                      <a:moveTo>
                        <a:pt x="21" y="0"/>
                      </a:moveTo>
                      <a:lnTo>
                        <a:pt x="0" y="27"/>
                      </a:lnTo>
                      <a:lnTo>
                        <a:pt x="14" y="75"/>
                      </a:lnTo>
                      <a:lnTo>
                        <a:pt x="57" y="66"/>
                      </a:lnTo>
                      <a:lnTo>
                        <a:pt x="60" y="21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2" name="Freeform 167">
                  <a:extLst>
                    <a:ext uri="{FF2B5EF4-FFF2-40B4-BE49-F238E27FC236}">
                      <a16:creationId xmlns:a16="http://schemas.microsoft.com/office/drawing/2014/main" id="{54CB7FDD-3435-49D4-A22D-BDBF7701AC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6" y="2866"/>
                  <a:ext cx="19" cy="21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27"/>
                    </a:cxn>
                    <a:cxn ang="0">
                      <a:pos x="14" y="75"/>
                    </a:cxn>
                    <a:cxn ang="0">
                      <a:pos x="39" y="87"/>
                    </a:cxn>
                    <a:cxn ang="0">
                      <a:pos x="75" y="54"/>
                    </a:cxn>
                    <a:cxn ang="0">
                      <a:pos x="60" y="21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75" h="87">
                      <a:moveTo>
                        <a:pt x="21" y="0"/>
                      </a:moveTo>
                      <a:lnTo>
                        <a:pt x="0" y="27"/>
                      </a:lnTo>
                      <a:lnTo>
                        <a:pt x="14" y="75"/>
                      </a:lnTo>
                      <a:lnTo>
                        <a:pt x="39" y="87"/>
                      </a:lnTo>
                      <a:lnTo>
                        <a:pt x="75" y="54"/>
                      </a:lnTo>
                      <a:lnTo>
                        <a:pt x="60" y="21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3" name="Freeform 168">
                  <a:extLst>
                    <a:ext uri="{FF2B5EF4-FFF2-40B4-BE49-F238E27FC236}">
                      <a16:creationId xmlns:a16="http://schemas.microsoft.com/office/drawing/2014/main" id="{F4109E00-E79B-4323-A1E6-CCE7A2839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0" y="2711"/>
                  <a:ext cx="24" cy="23"/>
                </a:xfrm>
                <a:custGeom>
                  <a:avLst/>
                  <a:gdLst/>
                  <a:ahLst/>
                  <a:cxnLst>
                    <a:cxn ang="0">
                      <a:pos x="48" y="0"/>
                    </a:cxn>
                    <a:cxn ang="0">
                      <a:pos x="0" y="39"/>
                    </a:cxn>
                    <a:cxn ang="0">
                      <a:pos x="0" y="84"/>
                    </a:cxn>
                    <a:cxn ang="0">
                      <a:pos x="48" y="96"/>
                    </a:cxn>
                    <a:cxn ang="0">
                      <a:pos x="84" y="66"/>
                    </a:cxn>
                    <a:cxn ang="0">
                      <a:pos x="99" y="27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99" h="96">
                      <a:moveTo>
                        <a:pt x="48" y="0"/>
                      </a:moveTo>
                      <a:lnTo>
                        <a:pt x="0" y="39"/>
                      </a:lnTo>
                      <a:lnTo>
                        <a:pt x="0" y="84"/>
                      </a:lnTo>
                      <a:lnTo>
                        <a:pt x="48" y="96"/>
                      </a:lnTo>
                      <a:lnTo>
                        <a:pt x="84" y="66"/>
                      </a:lnTo>
                      <a:lnTo>
                        <a:pt x="99" y="27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4" name="Freeform 169">
                  <a:extLst>
                    <a:ext uri="{FF2B5EF4-FFF2-40B4-BE49-F238E27FC236}">
                      <a16:creationId xmlns:a16="http://schemas.microsoft.com/office/drawing/2014/main" id="{4E52975B-AE79-4425-8425-5364A34032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7" y="2736"/>
                  <a:ext cx="20" cy="27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27"/>
                    </a:cxn>
                    <a:cxn ang="0">
                      <a:pos x="14" y="75"/>
                    </a:cxn>
                    <a:cxn ang="0">
                      <a:pos x="42" y="111"/>
                    </a:cxn>
                    <a:cxn ang="0">
                      <a:pos x="81" y="78"/>
                    </a:cxn>
                    <a:cxn ang="0">
                      <a:pos x="75" y="30"/>
                    </a:cxn>
                    <a:cxn ang="0">
                      <a:pos x="51" y="0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81" h="111">
                      <a:moveTo>
                        <a:pt x="21" y="0"/>
                      </a:moveTo>
                      <a:lnTo>
                        <a:pt x="0" y="27"/>
                      </a:lnTo>
                      <a:lnTo>
                        <a:pt x="14" y="75"/>
                      </a:lnTo>
                      <a:lnTo>
                        <a:pt x="42" y="111"/>
                      </a:lnTo>
                      <a:lnTo>
                        <a:pt x="81" y="78"/>
                      </a:lnTo>
                      <a:lnTo>
                        <a:pt x="75" y="30"/>
                      </a:lnTo>
                      <a:lnTo>
                        <a:pt x="51" y="0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5" name="Freeform 170">
                  <a:extLst>
                    <a:ext uri="{FF2B5EF4-FFF2-40B4-BE49-F238E27FC236}">
                      <a16:creationId xmlns:a16="http://schemas.microsoft.com/office/drawing/2014/main" id="{DBF68E71-ADE0-4231-8B7E-4F9706B6AB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9" y="2683"/>
                  <a:ext cx="16" cy="22"/>
                </a:xfrm>
                <a:custGeom>
                  <a:avLst/>
                  <a:gdLst/>
                  <a:ahLst/>
                  <a:cxnLst>
                    <a:cxn ang="0">
                      <a:pos x="27" y="0"/>
                    </a:cxn>
                    <a:cxn ang="0">
                      <a:pos x="6" y="27"/>
                    </a:cxn>
                    <a:cxn ang="0">
                      <a:pos x="0" y="69"/>
                    </a:cxn>
                    <a:cxn ang="0">
                      <a:pos x="21" y="93"/>
                    </a:cxn>
                    <a:cxn ang="0">
                      <a:pos x="66" y="84"/>
                    </a:cxn>
                    <a:cxn ang="0">
                      <a:pos x="66" y="21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66" h="93">
                      <a:moveTo>
                        <a:pt x="27" y="0"/>
                      </a:moveTo>
                      <a:lnTo>
                        <a:pt x="6" y="27"/>
                      </a:lnTo>
                      <a:lnTo>
                        <a:pt x="0" y="69"/>
                      </a:lnTo>
                      <a:lnTo>
                        <a:pt x="21" y="93"/>
                      </a:lnTo>
                      <a:lnTo>
                        <a:pt x="66" y="84"/>
                      </a:lnTo>
                      <a:lnTo>
                        <a:pt x="66" y="2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6" name="Freeform 171">
                  <a:extLst>
                    <a:ext uri="{FF2B5EF4-FFF2-40B4-BE49-F238E27FC236}">
                      <a16:creationId xmlns:a16="http://schemas.microsoft.com/office/drawing/2014/main" id="{3FA8B316-1243-4400-9F0F-BC9FC28833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4" y="2768"/>
                  <a:ext cx="15" cy="17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27"/>
                    </a:cxn>
                    <a:cxn ang="0">
                      <a:pos x="3" y="72"/>
                    </a:cxn>
                    <a:cxn ang="0">
                      <a:pos x="36" y="69"/>
                    </a:cxn>
                    <a:cxn ang="0">
                      <a:pos x="60" y="21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60" h="72">
                      <a:moveTo>
                        <a:pt x="21" y="0"/>
                      </a:moveTo>
                      <a:lnTo>
                        <a:pt x="0" y="27"/>
                      </a:lnTo>
                      <a:lnTo>
                        <a:pt x="3" y="72"/>
                      </a:lnTo>
                      <a:lnTo>
                        <a:pt x="36" y="69"/>
                      </a:lnTo>
                      <a:lnTo>
                        <a:pt x="60" y="21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7" name="Freeform 172">
                  <a:extLst>
                    <a:ext uri="{FF2B5EF4-FFF2-40B4-BE49-F238E27FC236}">
                      <a16:creationId xmlns:a16="http://schemas.microsoft.com/office/drawing/2014/main" id="{9A65B54C-D327-4C25-ADA6-B0C4100A85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2" y="2692"/>
                  <a:ext cx="17" cy="20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0" y="36"/>
                    </a:cxn>
                    <a:cxn ang="0">
                      <a:pos x="32" y="84"/>
                    </a:cxn>
                    <a:cxn ang="0">
                      <a:pos x="69" y="60"/>
                    </a:cxn>
                    <a:cxn ang="0">
                      <a:pos x="72" y="15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72" h="84">
                      <a:moveTo>
                        <a:pt x="30" y="0"/>
                      </a:moveTo>
                      <a:lnTo>
                        <a:pt x="0" y="36"/>
                      </a:lnTo>
                      <a:lnTo>
                        <a:pt x="32" y="84"/>
                      </a:lnTo>
                      <a:lnTo>
                        <a:pt x="69" y="60"/>
                      </a:lnTo>
                      <a:lnTo>
                        <a:pt x="72" y="15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8" name="Freeform 173">
                  <a:extLst>
                    <a:ext uri="{FF2B5EF4-FFF2-40B4-BE49-F238E27FC236}">
                      <a16:creationId xmlns:a16="http://schemas.microsoft.com/office/drawing/2014/main" id="{1BC84034-1B68-4330-8978-77B73B6BC4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2" y="2606"/>
                  <a:ext cx="21" cy="20"/>
                </a:xfrm>
                <a:custGeom>
                  <a:avLst/>
                  <a:gdLst/>
                  <a:ahLst/>
                  <a:cxnLst>
                    <a:cxn ang="0">
                      <a:pos x="36" y="3"/>
                    </a:cxn>
                    <a:cxn ang="0">
                      <a:pos x="0" y="36"/>
                    </a:cxn>
                    <a:cxn ang="0">
                      <a:pos x="18" y="75"/>
                    </a:cxn>
                    <a:cxn ang="0">
                      <a:pos x="63" y="84"/>
                    </a:cxn>
                    <a:cxn ang="0">
                      <a:pos x="87" y="60"/>
                    </a:cxn>
                    <a:cxn ang="0">
                      <a:pos x="75" y="24"/>
                    </a:cxn>
                    <a:cxn ang="0">
                      <a:pos x="60" y="0"/>
                    </a:cxn>
                    <a:cxn ang="0">
                      <a:pos x="36" y="3"/>
                    </a:cxn>
                  </a:cxnLst>
                  <a:rect l="0" t="0" r="r" b="b"/>
                  <a:pathLst>
                    <a:path w="87" h="84">
                      <a:moveTo>
                        <a:pt x="36" y="3"/>
                      </a:moveTo>
                      <a:lnTo>
                        <a:pt x="0" y="36"/>
                      </a:lnTo>
                      <a:lnTo>
                        <a:pt x="18" y="75"/>
                      </a:lnTo>
                      <a:lnTo>
                        <a:pt x="63" y="84"/>
                      </a:lnTo>
                      <a:lnTo>
                        <a:pt x="87" y="60"/>
                      </a:lnTo>
                      <a:lnTo>
                        <a:pt x="75" y="24"/>
                      </a:lnTo>
                      <a:lnTo>
                        <a:pt x="60" y="0"/>
                      </a:lnTo>
                      <a:lnTo>
                        <a:pt x="36" y="3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49" name="Freeform 174">
                  <a:extLst>
                    <a:ext uri="{FF2B5EF4-FFF2-40B4-BE49-F238E27FC236}">
                      <a16:creationId xmlns:a16="http://schemas.microsoft.com/office/drawing/2014/main" id="{731EF0BA-65C6-4872-B174-D3417E03AA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0" y="2668"/>
                  <a:ext cx="22" cy="21"/>
                </a:xfrm>
                <a:custGeom>
                  <a:avLst/>
                  <a:gdLst/>
                  <a:ahLst/>
                  <a:cxnLst>
                    <a:cxn ang="0">
                      <a:pos x="45" y="0"/>
                    </a:cxn>
                    <a:cxn ang="0">
                      <a:pos x="0" y="27"/>
                    </a:cxn>
                    <a:cxn ang="0">
                      <a:pos x="6" y="66"/>
                    </a:cxn>
                    <a:cxn ang="0">
                      <a:pos x="47" y="84"/>
                    </a:cxn>
                    <a:cxn ang="0">
                      <a:pos x="90" y="66"/>
                    </a:cxn>
                    <a:cxn ang="0">
                      <a:pos x="87" y="15"/>
                    </a:cxn>
                    <a:cxn ang="0">
                      <a:pos x="45" y="0"/>
                    </a:cxn>
                  </a:cxnLst>
                  <a:rect l="0" t="0" r="r" b="b"/>
                  <a:pathLst>
                    <a:path w="90" h="84">
                      <a:moveTo>
                        <a:pt x="45" y="0"/>
                      </a:moveTo>
                      <a:lnTo>
                        <a:pt x="0" y="27"/>
                      </a:lnTo>
                      <a:lnTo>
                        <a:pt x="6" y="66"/>
                      </a:lnTo>
                      <a:lnTo>
                        <a:pt x="47" y="84"/>
                      </a:lnTo>
                      <a:lnTo>
                        <a:pt x="90" y="66"/>
                      </a:lnTo>
                      <a:lnTo>
                        <a:pt x="87" y="15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50" name="Freeform 175">
                  <a:extLst>
                    <a:ext uri="{FF2B5EF4-FFF2-40B4-BE49-F238E27FC236}">
                      <a16:creationId xmlns:a16="http://schemas.microsoft.com/office/drawing/2014/main" id="{4C1B13E0-7C26-4A97-AB13-0841FE7C2C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9" y="2627"/>
                  <a:ext cx="15" cy="17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27"/>
                    </a:cxn>
                    <a:cxn ang="0">
                      <a:pos x="3" y="72"/>
                    </a:cxn>
                    <a:cxn ang="0">
                      <a:pos x="48" y="60"/>
                    </a:cxn>
                    <a:cxn ang="0">
                      <a:pos x="60" y="21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60" h="72">
                      <a:moveTo>
                        <a:pt x="21" y="0"/>
                      </a:moveTo>
                      <a:lnTo>
                        <a:pt x="0" y="27"/>
                      </a:lnTo>
                      <a:lnTo>
                        <a:pt x="3" y="72"/>
                      </a:lnTo>
                      <a:lnTo>
                        <a:pt x="48" y="60"/>
                      </a:lnTo>
                      <a:lnTo>
                        <a:pt x="60" y="21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51" name="Freeform 176">
                  <a:extLst>
                    <a:ext uri="{FF2B5EF4-FFF2-40B4-BE49-F238E27FC236}">
                      <a16:creationId xmlns:a16="http://schemas.microsoft.com/office/drawing/2014/main" id="{E2095283-3625-481B-AC24-8987D4C4B6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0" y="2641"/>
                  <a:ext cx="12" cy="16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0" y="12"/>
                    </a:cxn>
                    <a:cxn ang="0">
                      <a:pos x="0" y="51"/>
                    </a:cxn>
                    <a:cxn ang="0">
                      <a:pos x="21" y="69"/>
                    </a:cxn>
                    <a:cxn ang="0">
                      <a:pos x="51" y="60"/>
                    </a:cxn>
                    <a:cxn ang="0">
                      <a:pos x="54" y="27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54" h="69">
                      <a:moveTo>
                        <a:pt x="30" y="0"/>
                      </a:moveTo>
                      <a:lnTo>
                        <a:pt x="0" y="12"/>
                      </a:lnTo>
                      <a:lnTo>
                        <a:pt x="0" y="51"/>
                      </a:lnTo>
                      <a:lnTo>
                        <a:pt x="21" y="69"/>
                      </a:lnTo>
                      <a:lnTo>
                        <a:pt x="51" y="60"/>
                      </a:lnTo>
                      <a:lnTo>
                        <a:pt x="54" y="27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325" name="Group 177">
                <a:extLst>
                  <a:ext uri="{FF2B5EF4-FFF2-40B4-BE49-F238E27FC236}">
                    <a16:creationId xmlns:a16="http://schemas.microsoft.com/office/drawing/2014/main" id="{5FEFC5AD-1C49-4FD8-B563-39BA35E57BB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404238" y="5008319"/>
                <a:ext cx="272752" cy="72122"/>
                <a:chOff x="3271" y="3279"/>
                <a:chExt cx="403" cy="103"/>
              </a:xfrm>
              <a:solidFill>
                <a:schemeClr val="bg1">
                  <a:lumMod val="85000"/>
                </a:schemeClr>
              </a:solidFill>
              <a:effectLst/>
            </p:grpSpPr>
            <p:sp>
              <p:nvSpPr>
                <p:cNvPr id="331" name="Freeform 178">
                  <a:extLst>
                    <a:ext uri="{FF2B5EF4-FFF2-40B4-BE49-F238E27FC236}">
                      <a16:creationId xmlns:a16="http://schemas.microsoft.com/office/drawing/2014/main" id="{46DA625E-5975-4A03-8695-6C9BE10E0B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0" y="3283"/>
                  <a:ext cx="35" cy="47"/>
                </a:xfrm>
                <a:custGeom>
                  <a:avLst/>
                  <a:gdLst/>
                  <a:ahLst/>
                  <a:cxnLst>
                    <a:cxn ang="0">
                      <a:pos x="22" y="72"/>
                    </a:cxn>
                    <a:cxn ang="0">
                      <a:pos x="0" y="122"/>
                    </a:cxn>
                    <a:cxn ang="0">
                      <a:pos x="26" y="192"/>
                    </a:cxn>
                    <a:cxn ang="0">
                      <a:pos x="94" y="196"/>
                    </a:cxn>
                    <a:cxn ang="0">
                      <a:pos x="144" y="93"/>
                    </a:cxn>
                    <a:cxn ang="0">
                      <a:pos x="118" y="32"/>
                    </a:cxn>
                    <a:cxn ang="0">
                      <a:pos x="82" y="0"/>
                    </a:cxn>
                    <a:cxn ang="0">
                      <a:pos x="22" y="72"/>
                    </a:cxn>
                  </a:cxnLst>
                  <a:rect l="0" t="0" r="r" b="b"/>
                  <a:pathLst>
                    <a:path w="144" h="196">
                      <a:moveTo>
                        <a:pt x="22" y="72"/>
                      </a:moveTo>
                      <a:lnTo>
                        <a:pt x="0" y="122"/>
                      </a:lnTo>
                      <a:lnTo>
                        <a:pt x="26" y="192"/>
                      </a:lnTo>
                      <a:lnTo>
                        <a:pt x="94" y="196"/>
                      </a:lnTo>
                      <a:lnTo>
                        <a:pt x="144" y="93"/>
                      </a:lnTo>
                      <a:lnTo>
                        <a:pt x="118" y="32"/>
                      </a:lnTo>
                      <a:lnTo>
                        <a:pt x="82" y="0"/>
                      </a:lnTo>
                      <a:lnTo>
                        <a:pt x="22" y="72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2" name="Freeform 179">
                  <a:extLst>
                    <a:ext uri="{FF2B5EF4-FFF2-40B4-BE49-F238E27FC236}">
                      <a16:creationId xmlns:a16="http://schemas.microsoft.com/office/drawing/2014/main" id="{B667B448-684F-4360-9FD8-BD0B744C8B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1" y="3331"/>
                  <a:ext cx="49" cy="51"/>
                </a:xfrm>
                <a:custGeom>
                  <a:avLst/>
                  <a:gdLst/>
                  <a:ahLst/>
                  <a:cxnLst>
                    <a:cxn ang="0">
                      <a:pos x="36" y="56"/>
                    </a:cxn>
                    <a:cxn ang="0">
                      <a:pos x="0" y="116"/>
                    </a:cxn>
                    <a:cxn ang="0">
                      <a:pos x="60" y="184"/>
                    </a:cxn>
                    <a:cxn ang="0">
                      <a:pos x="116" y="212"/>
                    </a:cxn>
                    <a:cxn ang="0">
                      <a:pos x="174" y="148"/>
                    </a:cxn>
                    <a:cxn ang="0">
                      <a:pos x="203" y="85"/>
                    </a:cxn>
                    <a:cxn ang="0">
                      <a:pos x="192" y="20"/>
                    </a:cxn>
                    <a:cxn ang="0">
                      <a:pos x="152" y="0"/>
                    </a:cxn>
                    <a:cxn ang="0">
                      <a:pos x="104" y="20"/>
                    </a:cxn>
                    <a:cxn ang="0">
                      <a:pos x="36" y="56"/>
                    </a:cxn>
                  </a:cxnLst>
                  <a:rect l="0" t="0" r="r" b="b"/>
                  <a:pathLst>
                    <a:path w="203" h="212">
                      <a:moveTo>
                        <a:pt x="36" y="56"/>
                      </a:moveTo>
                      <a:lnTo>
                        <a:pt x="0" y="116"/>
                      </a:lnTo>
                      <a:lnTo>
                        <a:pt x="60" y="184"/>
                      </a:lnTo>
                      <a:lnTo>
                        <a:pt x="116" y="212"/>
                      </a:lnTo>
                      <a:lnTo>
                        <a:pt x="174" y="148"/>
                      </a:lnTo>
                      <a:lnTo>
                        <a:pt x="203" y="85"/>
                      </a:lnTo>
                      <a:lnTo>
                        <a:pt x="192" y="20"/>
                      </a:lnTo>
                      <a:lnTo>
                        <a:pt x="152" y="0"/>
                      </a:lnTo>
                      <a:lnTo>
                        <a:pt x="104" y="20"/>
                      </a:lnTo>
                      <a:lnTo>
                        <a:pt x="36" y="56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3" name="Freeform 180">
                  <a:extLst>
                    <a:ext uri="{FF2B5EF4-FFF2-40B4-BE49-F238E27FC236}">
                      <a16:creationId xmlns:a16="http://schemas.microsoft.com/office/drawing/2014/main" id="{E18030CA-0A65-433B-B3BD-BFF03C1970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3" y="3279"/>
                  <a:ext cx="41" cy="26"/>
                </a:xfrm>
                <a:custGeom>
                  <a:avLst/>
                  <a:gdLst/>
                  <a:ahLst/>
                  <a:cxnLst>
                    <a:cxn ang="0">
                      <a:pos x="44" y="4"/>
                    </a:cxn>
                    <a:cxn ang="0">
                      <a:pos x="0" y="72"/>
                    </a:cxn>
                    <a:cxn ang="0">
                      <a:pos x="48" y="108"/>
                    </a:cxn>
                    <a:cxn ang="0">
                      <a:pos x="136" y="104"/>
                    </a:cxn>
                    <a:cxn ang="0">
                      <a:pos x="164" y="64"/>
                    </a:cxn>
                    <a:cxn ang="0">
                      <a:pos x="172" y="4"/>
                    </a:cxn>
                    <a:cxn ang="0">
                      <a:pos x="100" y="0"/>
                    </a:cxn>
                    <a:cxn ang="0">
                      <a:pos x="44" y="4"/>
                    </a:cxn>
                  </a:cxnLst>
                  <a:rect l="0" t="0" r="r" b="b"/>
                  <a:pathLst>
                    <a:path w="172" h="108">
                      <a:moveTo>
                        <a:pt x="44" y="4"/>
                      </a:moveTo>
                      <a:lnTo>
                        <a:pt x="0" y="72"/>
                      </a:lnTo>
                      <a:lnTo>
                        <a:pt x="48" y="108"/>
                      </a:lnTo>
                      <a:lnTo>
                        <a:pt x="136" y="104"/>
                      </a:lnTo>
                      <a:lnTo>
                        <a:pt x="164" y="64"/>
                      </a:lnTo>
                      <a:lnTo>
                        <a:pt x="172" y="4"/>
                      </a:lnTo>
                      <a:lnTo>
                        <a:pt x="100" y="0"/>
                      </a:lnTo>
                      <a:lnTo>
                        <a:pt x="44" y="4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326" name="Freeform 181">
                <a:extLst>
                  <a:ext uri="{FF2B5EF4-FFF2-40B4-BE49-F238E27FC236}">
                    <a16:creationId xmlns:a16="http://schemas.microsoft.com/office/drawing/2014/main" id="{48C963E9-F36A-4A96-9167-CAB9EF3E3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7848" y="3950093"/>
                <a:ext cx="20981" cy="31471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7" y="103"/>
                  </a:cxn>
                  <a:cxn ang="0">
                    <a:pos x="14" y="187"/>
                  </a:cxn>
                  <a:cxn ang="0">
                    <a:pos x="86" y="173"/>
                  </a:cxn>
                  <a:cxn ang="0">
                    <a:pos x="115" y="110"/>
                  </a:cxn>
                  <a:cxn ang="0">
                    <a:pos x="125" y="24"/>
                  </a:cxn>
                  <a:cxn ang="0">
                    <a:pos x="53" y="0"/>
                  </a:cxn>
                  <a:cxn ang="0">
                    <a:pos x="0" y="33"/>
                  </a:cxn>
                </a:cxnLst>
                <a:rect l="0" t="0" r="r" b="b"/>
                <a:pathLst>
                  <a:path w="125" h="187">
                    <a:moveTo>
                      <a:pt x="0" y="33"/>
                    </a:moveTo>
                    <a:lnTo>
                      <a:pt x="7" y="103"/>
                    </a:lnTo>
                    <a:lnTo>
                      <a:pt x="14" y="187"/>
                    </a:lnTo>
                    <a:lnTo>
                      <a:pt x="86" y="173"/>
                    </a:lnTo>
                    <a:lnTo>
                      <a:pt x="115" y="110"/>
                    </a:lnTo>
                    <a:lnTo>
                      <a:pt x="125" y="24"/>
                    </a:lnTo>
                    <a:lnTo>
                      <a:pt x="53" y="0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+mn-cs"/>
                </a:endParaRPr>
              </a:p>
            </p:txBody>
          </p:sp>
          <p:grpSp>
            <p:nvGrpSpPr>
              <p:cNvPr id="327" name="Group 182">
                <a:extLst>
                  <a:ext uri="{FF2B5EF4-FFF2-40B4-BE49-F238E27FC236}">
                    <a16:creationId xmlns:a16="http://schemas.microsoft.com/office/drawing/2014/main" id="{0AC2819A-C9B3-41B7-BCF5-563AF6521DA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58599" y="2747203"/>
                <a:ext cx="49830" cy="85235"/>
                <a:chOff x="997" y="8534"/>
                <a:chExt cx="375" cy="631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328" name="Freeform 183">
                  <a:extLst>
                    <a:ext uri="{FF2B5EF4-FFF2-40B4-BE49-F238E27FC236}">
                      <a16:creationId xmlns:a16="http://schemas.microsoft.com/office/drawing/2014/main" id="{110E3B12-EE70-48B7-8B4E-BBBBF61AE2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7" y="8534"/>
                  <a:ext cx="126" cy="155"/>
                </a:xfrm>
                <a:custGeom>
                  <a:avLst/>
                  <a:gdLst/>
                  <a:ahLst/>
                  <a:cxnLst>
                    <a:cxn ang="0">
                      <a:pos x="19" y="14"/>
                    </a:cxn>
                    <a:cxn ang="0">
                      <a:pos x="0" y="57"/>
                    </a:cxn>
                    <a:cxn ang="0">
                      <a:pos x="11" y="114"/>
                    </a:cxn>
                    <a:cxn ang="0">
                      <a:pos x="42" y="129"/>
                    </a:cxn>
                    <a:cxn ang="0">
                      <a:pos x="93" y="108"/>
                    </a:cxn>
                    <a:cxn ang="0">
                      <a:pos x="105" y="51"/>
                    </a:cxn>
                    <a:cxn ang="0">
                      <a:pos x="78" y="0"/>
                    </a:cxn>
                    <a:cxn ang="0">
                      <a:pos x="19" y="14"/>
                    </a:cxn>
                  </a:cxnLst>
                  <a:rect l="0" t="0" r="r" b="b"/>
                  <a:pathLst>
                    <a:path w="105" h="129">
                      <a:moveTo>
                        <a:pt x="19" y="14"/>
                      </a:moveTo>
                      <a:lnTo>
                        <a:pt x="0" y="57"/>
                      </a:lnTo>
                      <a:lnTo>
                        <a:pt x="11" y="114"/>
                      </a:lnTo>
                      <a:lnTo>
                        <a:pt x="42" y="129"/>
                      </a:lnTo>
                      <a:lnTo>
                        <a:pt x="93" y="108"/>
                      </a:lnTo>
                      <a:lnTo>
                        <a:pt x="105" y="51"/>
                      </a:lnTo>
                      <a:lnTo>
                        <a:pt x="78" y="0"/>
                      </a:lnTo>
                      <a:lnTo>
                        <a:pt x="19" y="14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29" name="Freeform 184">
                  <a:extLst>
                    <a:ext uri="{FF2B5EF4-FFF2-40B4-BE49-F238E27FC236}">
                      <a16:creationId xmlns:a16="http://schemas.microsoft.com/office/drawing/2014/main" id="{87A9B2F5-358F-4783-8CD2-B594DEA2A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34" y="8657"/>
                  <a:ext cx="126" cy="130"/>
                </a:xfrm>
                <a:custGeom>
                  <a:avLst/>
                  <a:gdLst/>
                  <a:ahLst/>
                  <a:cxnLst>
                    <a:cxn ang="0">
                      <a:pos x="19" y="5"/>
                    </a:cxn>
                    <a:cxn ang="0">
                      <a:pos x="0" y="48"/>
                    </a:cxn>
                    <a:cxn ang="0">
                      <a:pos x="9" y="87"/>
                    </a:cxn>
                    <a:cxn ang="0">
                      <a:pos x="45" y="108"/>
                    </a:cxn>
                    <a:cxn ang="0">
                      <a:pos x="81" y="81"/>
                    </a:cxn>
                    <a:cxn ang="0">
                      <a:pos x="105" y="42"/>
                    </a:cxn>
                    <a:cxn ang="0">
                      <a:pos x="69" y="0"/>
                    </a:cxn>
                    <a:cxn ang="0">
                      <a:pos x="19" y="5"/>
                    </a:cxn>
                  </a:cxnLst>
                  <a:rect l="0" t="0" r="r" b="b"/>
                  <a:pathLst>
                    <a:path w="105" h="108">
                      <a:moveTo>
                        <a:pt x="19" y="5"/>
                      </a:moveTo>
                      <a:lnTo>
                        <a:pt x="0" y="48"/>
                      </a:lnTo>
                      <a:lnTo>
                        <a:pt x="9" y="87"/>
                      </a:lnTo>
                      <a:lnTo>
                        <a:pt x="45" y="108"/>
                      </a:lnTo>
                      <a:lnTo>
                        <a:pt x="81" y="81"/>
                      </a:lnTo>
                      <a:lnTo>
                        <a:pt x="105" y="42"/>
                      </a:lnTo>
                      <a:lnTo>
                        <a:pt x="69" y="0"/>
                      </a:lnTo>
                      <a:lnTo>
                        <a:pt x="19" y="5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330" name="Freeform 185">
                  <a:extLst>
                    <a:ext uri="{FF2B5EF4-FFF2-40B4-BE49-F238E27FC236}">
                      <a16:creationId xmlns:a16="http://schemas.microsoft.com/office/drawing/2014/main" id="{4781C27D-02CA-4C92-97F1-69E0C84E76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5" y="8859"/>
                  <a:ext cx="227" cy="306"/>
                </a:xfrm>
                <a:custGeom>
                  <a:avLst/>
                  <a:gdLst/>
                  <a:ahLst/>
                  <a:cxnLst>
                    <a:cxn ang="0">
                      <a:pos x="123" y="21"/>
                    </a:cxn>
                    <a:cxn ang="0">
                      <a:pos x="78" y="78"/>
                    </a:cxn>
                    <a:cxn ang="0">
                      <a:pos x="42" y="135"/>
                    </a:cxn>
                    <a:cxn ang="0">
                      <a:pos x="0" y="204"/>
                    </a:cxn>
                    <a:cxn ang="0">
                      <a:pos x="15" y="255"/>
                    </a:cxn>
                    <a:cxn ang="0">
                      <a:pos x="69" y="246"/>
                    </a:cxn>
                    <a:cxn ang="0">
                      <a:pos x="111" y="171"/>
                    </a:cxn>
                    <a:cxn ang="0">
                      <a:pos x="159" y="96"/>
                    </a:cxn>
                    <a:cxn ang="0">
                      <a:pos x="189" y="51"/>
                    </a:cxn>
                    <a:cxn ang="0">
                      <a:pos x="162" y="0"/>
                    </a:cxn>
                    <a:cxn ang="0">
                      <a:pos x="123" y="21"/>
                    </a:cxn>
                  </a:cxnLst>
                  <a:rect l="0" t="0" r="r" b="b"/>
                  <a:pathLst>
                    <a:path w="189" h="255">
                      <a:moveTo>
                        <a:pt x="123" y="21"/>
                      </a:moveTo>
                      <a:lnTo>
                        <a:pt x="78" y="78"/>
                      </a:lnTo>
                      <a:lnTo>
                        <a:pt x="42" y="135"/>
                      </a:lnTo>
                      <a:lnTo>
                        <a:pt x="0" y="204"/>
                      </a:lnTo>
                      <a:lnTo>
                        <a:pt x="15" y="255"/>
                      </a:lnTo>
                      <a:lnTo>
                        <a:pt x="69" y="246"/>
                      </a:lnTo>
                      <a:lnTo>
                        <a:pt x="111" y="171"/>
                      </a:lnTo>
                      <a:lnTo>
                        <a:pt x="159" y="96"/>
                      </a:lnTo>
                      <a:lnTo>
                        <a:pt x="189" y="51"/>
                      </a:lnTo>
                      <a:lnTo>
                        <a:pt x="162" y="0"/>
                      </a:lnTo>
                      <a:lnTo>
                        <a:pt x="123" y="21"/>
                      </a:lnTo>
                      <a:close/>
                    </a:path>
                  </a:pathLst>
                </a:custGeom>
                <a:grpFill/>
                <a:ln w="6350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ffectLst>
                  <a:outerShdw dist="28398" dir="6993903" algn="ctr" rotWithShape="0">
                    <a:srgbClr val="B2B2B2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entury Gothic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263" name="Freeform 114">
                <a:extLst>
                  <a:ext uri="{FF2B5EF4-FFF2-40B4-BE49-F238E27FC236}">
                    <a16:creationId xmlns:a16="http://schemas.microsoft.com/office/drawing/2014/main" id="{718F9717-1699-45CA-A3E2-80F67AA4B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9830" y="3067583"/>
                <a:ext cx="658277" cy="517967"/>
              </a:xfrm>
              <a:custGeom>
                <a:avLst/>
                <a:gdLst/>
                <a:ahLst/>
                <a:cxnLst>
                  <a:cxn ang="0">
                    <a:pos x="1137" y="1762"/>
                  </a:cxn>
                  <a:cxn ang="0">
                    <a:pos x="865" y="1808"/>
                  </a:cxn>
                  <a:cxn ang="0">
                    <a:pos x="683" y="1853"/>
                  </a:cxn>
                  <a:cxn ang="0">
                    <a:pos x="564" y="1822"/>
                  </a:cxn>
                  <a:cxn ang="0">
                    <a:pos x="510" y="1726"/>
                  </a:cxn>
                  <a:cxn ang="0">
                    <a:pos x="498" y="1612"/>
                  </a:cxn>
                  <a:cxn ang="0">
                    <a:pos x="402" y="1510"/>
                  </a:cxn>
                  <a:cxn ang="0">
                    <a:pos x="252" y="1432"/>
                  </a:cxn>
                  <a:cxn ang="0">
                    <a:pos x="114" y="1444"/>
                  </a:cxn>
                  <a:cxn ang="0">
                    <a:pos x="0" y="1462"/>
                  </a:cxn>
                  <a:cxn ang="0">
                    <a:pos x="3" y="1037"/>
                  </a:cxn>
                  <a:cxn ang="0">
                    <a:pos x="48" y="901"/>
                  </a:cxn>
                  <a:cxn ang="0">
                    <a:pos x="150" y="802"/>
                  </a:cxn>
                  <a:cxn ang="0">
                    <a:pos x="222" y="688"/>
                  </a:cxn>
                  <a:cxn ang="0">
                    <a:pos x="230" y="583"/>
                  </a:cxn>
                  <a:cxn ang="0">
                    <a:pos x="179" y="421"/>
                  </a:cxn>
                  <a:cxn ang="0">
                    <a:pos x="212" y="375"/>
                  </a:cxn>
                  <a:cxn ang="0">
                    <a:pos x="216" y="256"/>
                  </a:cxn>
                  <a:cxn ang="0">
                    <a:pos x="288" y="187"/>
                  </a:cxn>
                  <a:cxn ang="0">
                    <a:pos x="314" y="61"/>
                  </a:cxn>
                  <a:cxn ang="0">
                    <a:pos x="437" y="24"/>
                  </a:cxn>
                  <a:cxn ang="0">
                    <a:pos x="510" y="33"/>
                  </a:cxn>
                  <a:cxn ang="0">
                    <a:pos x="588" y="0"/>
                  </a:cxn>
                  <a:cxn ang="0">
                    <a:pos x="680" y="37"/>
                  </a:cxn>
                  <a:cxn ang="0">
                    <a:pos x="779" y="73"/>
                  </a:cxn>
                  <a:cxn ang="0">
                    <a:pos x="833" y="177"/>
                  </a:cxn>
                  <a:cxn ang="0">
                    <a:pos x="944" y="147"/>
                  </a:cxn>
                  <a:cxn ang="0">
                    <a:pos x="995" y="103"/>
                  </a:cxn>
                  <a:cxn ang="0">
                    <a:pos x="1142" y="165"/>
                  </a:cxn>
                  <a:cxn ang="0">
                    <a:pos x="1317" y="220"/>
                  </a:cxn>
                  <a:cxn ang="0">
                    <a:pos x="1443" y="123"/>
                  </a:cxn>
                  <a:cxn ang="0">
                    <a:pos x="1539" y="100"/>
                  </a:cxn>
                  <a:cxn ang="0">
                    <a:pos x="1673" y="105"/>
                  </a:cxn>
                  <a:cxn ang="0">
                    <a:pos x="1775" y="130"/>
                  </a:cxn>
                  <a:cxn ang="0">
                    <a:pos x="1895" y="132"/>
                  </a:cxn>
                  <a:cxn ang="0">
                    <a:pos x="1980" y="70"/>
                  </a:cxn>
                  <a:cxn ang="0">
                    <a:pos x="2044" y="39"/>
                  </a:cxn>
                  <a:cxn ang="0">
                    <a:pos x="2088" y="154"/>
                  </a:cxn>
                  <a:cxn ang="0">
                    <a:pos x="2166" y="208"/>
                  </a:cxn>
                  <a:cxn ang="0">
                    <a:pos x="2184" y="292"/>
                  </a:cxn>
                  <a:cxn ang="0">
                    <a:pos x="2316" y="311"/>
                  </a:cxn>
                  <a:cxn ang="0">
                    <a:pos x="2310" y="472"/>
                  </a:cxn>
                  <a:cxn ang="0">
                    <a:pos x="2178" y="538"/>
                  </a:cxn>
                  <a:cxn ang="0">
                    <a:pos x="2100" y="646"/>
                  </a:cxn>
                  <a:cxn ang="0">
                    <a:pos x="2034" y="844"/>
                  </a:cxn>
                  <a:cxn ang="0">
                    <a:pos x="1956" y="934"/>
                  </a:cxn>
                  <a:cxn ang="0">
                    <a:pos x="1863" y="1127"/>
                  </a:cxn>
                  <a:cxn ang="0">
                    <a:pos x="1752" y="1276"/>
                  </a:cxn>
                  <a:cxn ang="0">
                    <a:pos x="1740" y="1384"/>
                  </a:cxn>
                  <a:cxn ang="0">
                    <a:pos x="1692" y="1468"/>
                  </a:cxn>
                  <a:cxn ang="0">
                    <a:pos x="1608" y="1462"/>
                  </a:cxn>
                  <a:cxn ang="0">
                    <a:pos x="1602" y="1372"/>
                  </a:cxn>
                  <a:cxn ang="0">
                    <a:pos x="1530" y="1330"/>
                  </a:cxn>
                  <a:cxn ang="0">
                    <a:pos x="1482" y="1360"/>
                  </a:cxn>
                  <a:cxn ang="0">
                    <a:pos x="1416" y="1360"/>
                  </a:cxn>
                  <a:cxn ang="0">
                    <a:pos x="1302" y="1468"/>
                  </a:cxn>
                  <a:cxn ang="0">
                    <a:pos x="1199" y="1566"/>
                  </a:cxn>
                  <a:cxn ang="0">
                    <a:pos x="1188" y="1666"/>
                  </a:cxn>
                  <a:cxn ang="0">
                    <a:pos x="1137" y="1762"/>
                  </a:cxn>
                </a:cxnLst>
                <a:rect l="0" t="0" r="r" b="b"/>
                <a:pathLst>
                  <a:path w="2316" h="1853">
                    <a:moveTo>
                      <a:pt x="1137" y="1762"/>
                    </a:moveTo>
                    <a:lnTo>
                      <a:pt x="865" y="1808"/>
                    </a:lnTo>
                    <a:lnTo>
                      <a:pt x="683" y="1853"/>
                    </a:lnTo>
                    <a:lnTo>
                      <a:pt x="564" y="1822"/>
                    </a:lnTo>
                    <a:lnTo>
                      <a:pt x="510" y="1726"/>
                    </a:lnTo>
                    <a:lnTo>
                      <a:pt x="498" y="1612"/>
                    </a:lnTo>
                    <a:lnTo>
                      <a:pt x="402" y="1510"/>
                    </a:lnTo>
                    <a:lnTo>
                      <a:pt x="252" y="1432"/>
                    </a:lnTo>
                    <a:lnTo>
                      <a:pt x="114" y="1444"/>
                    </a:lnTo>
                    <a:lnTo>
                      <a:pt x="0" y="1462"/>
                    </a:lnTo>
                    <a:lnTo>
                      <a:pt x="3" y="1037"/>
                    </a:lnTo>
                    <a:lnTo>
                      <a:pt x="48" y="901"/>
                    </a:lnTo>
                    <a:lnTo>
                      <a:pt x="150" y="802"/>
                    </a:lnTo>
                    <a:lnTo>
                      <a:pt x="222" y="688"/>
                    </a:lnTo>
                    <a:lnTo>
                      <a:pt x="230" y="583"/>
                    </a:lnTo>
                    <a:lnTo>
                      <a:pt x="179" y="421"/>
                    </a:lnTo>
                    <a:lnTo>
                      <a:pt x="212" y="375"/>
                    </a:lnTo>
                    <a:lnTo>
                      <a:pt x="216" y="256"/>
                    </a:lnTo>
                    <a:lnTo>
                      <a:pt x="288" y="187"/>
                    </a:lnTo>
                    <a:lnTo>
                      <a:pt x="314" y="61"/>
                    </a:lnTo>
                    <a:lnTo>
                      <a:pt x="437" y="24"/>
                    </a:lnTo>
                    <a:lnTo>
                      <a:pt x="510" y="33"/>
                    </a:lnTo>
                    <a:lnTo>
                      <a:pt x="588" y="0"/>
                    </a:lnTo>
                    <a:lnTo>
                      <a:pt x="680" y="37"/>
                    </a:lnTo>
                    <a:lnTo>
                      <a:pt x="779" y="73"/>
                    </a:lnTo>
                    <a:lnTo>
                      <a:pt x="833" y="177"/>
                    </a:lnTo>
                    <a:lnTo>
                      <a:pt x="944" y="147"/>
                    </a:lnTo>
                    <a:lnTo>
                      <a:pt x="995" y="103"/>
                    </a:lnTo>
                    <a:lnTo>
                      <a:pt x="1142" y="165"/>
                    </a:lnTo>
                    <a:lnTo>
                      <a:pt x="1317" y="220"/>
                    </a:lnTo>
                    <a:lnTo>
                      <a:pt x="1443" y="123"/>
                    </a:lnTo>
                    <a:lnTo>
                      <a:pt x="1539" y="100"/>
                    </a:lnTo>
                    <a:lnTo>
                      <a:pt x="1673" y="105"/>
                    </a:lnTo>
                    <a:lnTo>
                      <a:pt x="1775" y="130"/>
                    </a:lnTo>
                    <a:lnTo>
                      <a:pt x="1895" y="132"/>
                    </a:lnTo>
                    <a:lnTo>
                      <a:pt x="1980" y="70"/>
                    </a:lnTo>
                    <a:lnTo>
                      <a:pt x="2044" y="39"/>
                    </a:lnTo>
                    <a:lnTo>
                      <a:pt x="2088" y="154"/>
                    </a:lnTo>
                    <a:lnTo>
                      <a:pt x="2166" y="208"/>
                    </a:lnTo>
                    <a:lnTo>
                      <a:pt x="2184" y="292"/>
                    </a:lnTo>
                    <a:lnTo>
                      <a:pt x="2316" y="311"/>
                    </a:lnTo>
                    <a:lnTo>
                      <a:pt x="2310" y="472"/>
                    </a:lnTo>
                    <a:lnTo>
                      <a:pt x="2178" y="538"/>
                    </a:lnTo>
                    <a:lnTo>
                      <a:pt x="2100" y="646"/>
                    </a:lnTo>
                    <a:lnTo>
                      <a:pt x="2034" y="844"/>
                    </a:lnTo>
                    <a:lnTo>
                      <a:pt x="1956" y="934"/>
                    </a:lnTo>
                    <a:lnTo>
                      <a:pt x="1863" y="1127"/>
                    </a:lnTo>
                    <a:lnTo>
                      <a:pt x="1752" y="1276"/>
                    </a:lnTo>
                    <a:lnTo>
                      <a:pt x="1740" y="1384"/>
                    </a:lnTo>
                    <a:lnTo>
                      <a:pt x="1692" y="1468"/>
                    </a:lnTo>
                    <a:lnTo>
                      <a:pt x="1608" y="1462"/>
                    </a:lnTo>
                    <a:lnTo>
                      <a:pt x="1602" y="1372"/>
                    </a:lnTo>
                    <a:lnTo>
                      <a:pt x="1530" y="1330"/>
                    </a:lnTo>
                    <a:lnTo>
                      <a:pt x="1482" y="1360"/>
                    </a:lnTo>
                    <a:lnTo>
                      <a:pt x="1416" y="1360"/>
                    </a:lnTo>
                    <a:lnTo>
                      <a:pt x="1302" y="1468"/>
                    </a:lnTo>
                    <a:lnTo>
                      <a:pt x="1199" y="1566"/>
                    </a:lnTo>
                    <a:lnTo>
                      <a:pt x="1188" y="1666"/>
                    </a:lnTo>
                    <a:lnTo>
                      <a:pt x="1137" y="1762"/>
                    </a:lnTo>
                    <a:close/>
                  </a:path>
                </a:pathLst>
              </a:custGeom>
              <a:solidFill>
                <a:srgbClr val="0069B3"/>
              </a:solidFill>
              <a:ln w="19050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DD93223-15F3-4F10-9F97-0D4A53A44B45}"/>
                </a:ext>
              </a:extLst>
            </p:cNvPr>
            <p:cNvGrpSpPr/>
            <p:nvPr/>
          </p:nvGrpSpPr>
          <p:grpSpPr>
            <a:xfrm>
              <a:off x="6435898" y="4810076"/>
              <a:ext cx="3686482" cy="348363"/>
              <a:chOff x="5901863" y="5644136"/>
              <a:chExt cx="3505356" cy="333821"/>
            </a:xfrm>
          </p:grpSpPr>
          <p:sp>
            <p:nvSpPr>
              <p:cNvPr id="465" name="Rectangle 464">
                <a:extLst>
                  <a:ext uri="{FF2B5EF4-FFF2-40B4-BE49-F238E27FC236}">
                    <a16:creationId xmlns:a16="http://schemas.microsoft.com/office/drawing/2014/main" id="{C2B62CE5-2C9B-4FC6-B6D7-5F47A86DF838}"/>
                  </a:ext>
                </a:extLst>
              </p:cNvPr>
              <p:cNvSpPr/>
              <p:nvPr/>
            </p:nvSpPr>
            <p:spPr>
              <a:xfrm>
                <a:off x="6779219" y="5764101"/>
                <a:ext cx="2628000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13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Johannesburg, South Africa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 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| Office</a:t>
                </a:r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6BECEDC8-623B-42F3-ADCF-D772F1F19F7D}"/>
                  </a:ext>
                </a:extLst>
              </p:cNvPr>
              <p:cNvSpPr/>
              <p:nvPr/>
            </p:nvSpPr>
            <p:spPr>
              <a:xfrm>
                <a:off x="5901863" y="5644136"/>
                <a:ext cx="108000" cy="108000"/>
              </a:xfrm>
              <a:prstGeom prst="ellipse">
                <a:avLst/>
              </a:prstGeom>
              <a:solidFill>
                <a:srgbClr val="02467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231" name="Freeform 51">
                <a:extLst>
                  <a:ext uri="{FF2B5EF4-FFF2-40B4-BE49-F238E27FC236}">
                    <a16:creationId xmlns:a16="http://schemas.microsoft.com/office/drawing/2014/main" id="{6F1C6DF5-F585-46DA-B421-6445A43F5E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92527" y="5777282"/>
                <a:ext cx="180000" cy="180000"/>
              </a:xfrm>
              <a:custGeom>
                <a:avLst/>
                <a:gdLst>
                  <a:gd name="T0" fmla="*/ 1613 w 3750"/>
                  <a:gd name="T1" fmla="*/ 2844 h 3108"/>
                  <a:gd name="T2" fmla="*/ 2171 w 3750"/>
                  <a:gd name="T3" fmla="*/ 2883 h 3108"/>
                  <a:gd name="T4" fmla="*/ 2184 w 3750"/>
                  <a:gd name="T5" fmla="*/ 2315 h 3108"/>
                  <a:gd name="T6" fmla="*/ 2893 w 3750"/>
                  <a:gd name="T7" fmla="*/ 2222 h 3108"/>
                  <a:gd name="T8" fmla="*/ 2907 w 3750"/>
                  <a:gd name="T9" fmla="*/ 2615 h 3108"/>
                  <a:gd name="T10" fmla="*/ 3288 w 3750"/>
                  <a:gd name="T11" fmla="*/ 2575 h 3108"/>
                  <a:gd name="T12" fmla="*/ 2924 w 3750"/>
                  <a:gd name="T13" fmla="*/ 2210 h 3108"/>
                  <a:gd name="T14" fmla="*/ 460 w 3750"/>
                  <a:gd name="T15" fmla="*/ 2575 h 3108"/>
                  <a:gd name="T16" fmla="*/ 841 w 3750"/>
                  <a:gd name="T17" fmla="*/ 2615 h 3108"/>
                  <a:gd name="T18" fmla="*/ 855 w 3750"/>
                  <a:gd name="T19" fmla="*/ 2222 h 3108"/>
                  <a:gd name="T20" fmla="*/ 2893 w 3750"/>
                  <a:gd name="T21" fmla="*/ 1677 h 3108"/>
                  <a:gd name="T22" fmla="*/ 2907 w 3750"/>
                  <a:gd name="T23" fmla="*/ 2069 h 3108"/>
                  <a:gd name="T24" fmla="*/ 3288 w 3750"/>
                  <a:gd name="T25" fmla="*/ 2029 h 3108"/>
                  <a:gd name="T26" fmla="*/ 2924 w 3750"/>
                  <a:gd name="T27" fmla="*/ 1665 h 3108"/>
                  <a:gd name="T28" fmla="*/ 460 w 3750"/>
                  <a:gd name="T29" fmla="*/ 2029 h 3108"/>
                  <a:gd name="T30" fmla="*/ 841 w 3750"/>
                  <a:gd name="T31" fmla="*/ 2069 h 3108"/>
                  <a:gd name="T32" fmla="*/ 855 w 3750"/>
                  <a:gd name="T33" fmla="*/ 1677 h 3108"/>
                  <a:gd name="T34" fmla="*/ 2076 w 3750"/>
                  <a:gd name="T35" fmla="*/ 1667 h 3108"/>
                  <a:gd name="T36" fmla="*/ 2090 w 3750"/>
                  <a:gd name="T37" fmla="*/ 2059 h 3108"/>
                  <a:gd name="T38" fmla="*/ 2471 w 3750"/>
                  <a:gd name="T39" fmla="*/ 2020 h 3108"/>
                  <a:gd name="T40" fmla="*/ 2107 w 3750"/>
                  <a:gd name="T41" fmla="*/ 1654 h 3108"/>
                  <a:gd name="T42" fmla="*/ 1332 w 3750"/>
                  <a:gd name="T43" fmla="*/ 2020 h 3108"/>
                  <a:gd name="T44" fmla="*/ 1713 w 3750"/>
                  <a:gd name="T45" fmla="*/ 2059 h 3108"/>
                  <a:gd name="T46" fmla="*/ 1726 w 3750"/>
                  <a:gd name="T47" fmla="*/ 1667 h 3108"/>
                  <a:gd name="T48" fmla="*/ 2076 w 3750"/>
                  <a:gd name="T49" fmla="*/ 1121 h 3108"/>
                  <a:gd name="T50" fmla="*/ 2090 w 3750"/>
                  <a:gd name="T51" fmla="*/ 1514 h 3108"/>
                  <a:gd name="T52" fmla="*/ 2471 w 3750"/>
                  <a:gd name="T53" fmla="*/ 1474 h 3108"/>
                  <a:gd name="T54" fmla="*/ 2107 w 3750"/>
                  <a:gd name="T55" fmla="*/ 1109 h 3108"/>
                  <a:gd name="T56" fmla="*/ 1332 w 3750"/>
                  <a:gd name="T57" fmla="*/ 1474 h 3108"/>
                  <a:gd name="T58" fmla="*/ 1713 w 3750"/>
                  <a:gd name="T59" fmla="*/ 1514 h 3108"/>
                  <a:gd name="T60" fmla="*/ 1726 w 3750"/>
                  <a:gd name="T61" fmla="*/ 1121 h 3108"/>
                  <a:gd name="T62" fmla="*/ 2893 w 3750"/>
                  <a:gd name="T63" fmla="*/ 1112 h 3108"/>
                  <a:gd name="T64" fmla="*/ 2907 w 3750"/>
                  <a:gd name="T65" fmla="*/ 1504 h 3108"/>
                  <a:gd name="T66" fmla="*/ 3288 w 3750"/>
                  <a:gd name="T67" fmla="*/ 1465 h 3108"/>
                  <a:gd name="T68" fmla="*/ 2924 w 3750"/>
                  <a:gd name="T69" fmla="*/ 1099 h 3108"/>
                  <a:gd name="T70" fmla="*/ 460 w 3750"/>
                  <a:gd name="T71" fmla="*/ 1465 h 3108"/>
                  <a:gd name="T72" fmla="*/ 841 w 3750"/>
                  <a:gd name="T73" fmla="*/ 1504 h 3108"/>
                  <a:gd name="T74" fmla="*/ 855 w 3750"/>
                  <a:gd name="T75" fmla="*/ 1112 h 3108"/>
                  <a:gd name="T76" fmla="*/ 2076 w 3750"/>
                  <a:gd name="T77" fmla="*/ 557 h 3108"/>
                  <a:gd name="T78" fmla="*/ 2090 w 3750"/>
                  <a:gd name="T79" fmla="*/ 949 h 3108"/>
                  <a:gd name="T80" fmla="*/ 2471 w 3750"/>
                  <a:gd name="T81" fmla="*/ 909 h 3108"/>
                  <a:gd name="T82" fmla="*/ 2107 w 3750"/>
                  <a:gd name="T83" fmla="*/ 544 h 3108"/>
                  <a:gd name="T84" fmla="*/ 1332 w 3750"/>
                  <a:gd name="T85" fmla="*/ 909 h 3108"/>
                  <a:gd name="T86" fmla="*/ 1713 w 3750"/>
                  <a:gd name="T87" fmla="*/ 949 h 3108"/>
                  <a:gd name="T88" fmla="*/ 1726 w 3750"/>
                  <a:gd name="T89" fmla="*/ 557 h 3108"/>
                  <a:gd name="T90" fmla="*/ 2787 w 3750"/>
                  <a:gd name="T91" fmla="*/ 2 h 3108"/>
                  <a:gd name="T92" fmla="*/ 2820 w 3750"/>
                  <a:gd name="T93" fmla="*/ 165 h 3108"/>
                  <a:gd name="T94" fmla="*/ 2761 w 3750"/>
                  <a:gd name="T95" fmla="*/ 204 h 3108"/>
                  <a:gd name="T96" fmla="*/ 2754 w 3750"/>
                  <a:gd name="T97" fmla="*/ 620 h 3108"/>
                  <a:gd name="T98" fmla="*/ 2779 w 3750"/>
                  <a:gd name="T99" fmla="*/ 645 h 3108"/>
                  <a:gd name="T100" fmla="*/ 3621 w 3750"/>
                  <a:gd name="T101" fmla="*/ 716 h 3108"/>
                  <a:gd name="T102" fmla="*/ 3629 w 3750"/>
                  <a:gd name="T103" fmla="*/ 2878 h 3108"/>
                  <a:gd name="T104" fmla="*/ 3728 w 3750"/>
                  <a:gd name="T105" fmla="*/ 2899 h 3108"/>
                  <a:gd name="T106" fmla="*/ 3739 w 3750"/>
                  <a:gd name="T107" fmla="*/ 3087 h 3108"/>
                  <a:gd name="T108" fmla="*/ 22 w 3750"/>
                  <a:gd name="T109" fmla="*/ 3098 h 3108"/>
                  <a:gd name="T110" fmla="*/ 10 w 3750"/>
                  <a:gd name="T111" fmla="*/ 2912 h 3108"/>
                  <a:gd name="T112" fmla="*/ 112 w 3750"/>
                  <a:gd name="T113" fmla="*/ 2887 h 3108"/>
                  <a:gd name="T114" fmla="*/ 137 w 3750"/>
                  <a:gd name="T115" fmla="*/ 693 h 3108"/>
                  <a:gd name="T116" fmla="*/ 1037 w 3750"/>
                  <a:gd name="T117" fmla="*/ 643 h 3108"/>
                  <a:gd name="T118" fmla="*/ 1048 w 3750"/>
                  <a:gd name="T119" fmla="*/ 610 h 3108"/>
                  <a:gd name="T120" fmla="*/ 1046 w 3750"/>
                  <a:gd name="T121" fmla="*/ 209 h 3108"/>
                  <a:gd name="T122" fmla="*/ 1002 w 3750"/>
                  <a:gd name="T123" fmla="*/ 193 h 3108"/>
                  <a:gd name="T124" fmla="*/ 989 w 3750"/>
                  <a:gd name="T125" fmla="*/ 21 h 3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50" h="3108">
                    <a:moveTo>
                      <a:pt x="1657" y="2302"/>
                    </a:moveTo>
                    <a:lnTo>
                      <a:pt x="1640" y="2305"/>
                    </a:lnTo>
                    <a:lnTo>
                      <a:pt x="1626" y="2315"/>
                    </a:lnTo>
                    <a:lnTo>
                      <a:pt x="1617" y="2328"/>
                    </a:lnTo>
                    <a:lnTo>
                      <a:pt x="1613" y="2345"/>
                    </a:lnTo>
                    <a:lnTo>
                      <a:pt x="1613" y="2844"/>
                    </a:lnTo>
                    <a:lnTo>
                      <a:pt x="1617" y="2860"/>
                    </a:lnTo>
                    <a:lnTo>
                      <a:pt x="1626" y="2874"/>
                    </a:lnTo>
                    <a:lnTo>
                      <a:pt x="1640" y="2883"/>
                    </a:lnTo>
                    <a:lnTo>
                      <a:pt x="1657" y="2887"/>
                    </a:lnTo>
                    <a:lnTo>
                      <a:pt x="2155" y="2887"/>
                    </a:lnTo>
                    <a:lnTo>
                      <a:pt x="2171" y="2883"/>
                    </a:lnTo>
                    <a:lnTo>
                      <a:pt x="2184" y="2874"/>
                    </a:lnTo>
                    <a:lnTo>
                      <a:pt x="2193" y="2860"/>
                    </a:lnTo>
                    <a:lnTo>
                      <a:pt x="2197" y="2844"/>
                    </a:lnTo>
                    <a:lnTo>
                      <a:pt x="2197" y="2345"/>
                    </a:lnTo>
                    <a:lnTo>
                      <a:pt x="2193" y="2328"/>
                    </a:lnTo>
                    <a:lnTo>
                      <a:pt x="2184" y="2315"/>
                    </a:lnTo>
                    <a:lnTo>
                      <a:pt x="2171" y="2305"/>
                    </a:lnTo>
                    <a:lnTo>
                      <a:pt x="2155" y="2302"/>
                    </a:lnTo>
                    <a:lnTo>
                      <a:pt x="1657" y="2302"/>
                    </a:lnTo>
                    <a:close/>
                    <a:moveTo>
                      <a:pt x="2924" y="2210"/>
                    </a:moveTo>
                    <a:lnTo>
                      <a:pt x="2907" y="2213"/>
                    </a:lnTo>
                    <a:lnTo>
                      <a:pt x="2893" y="2222"/>
                    </a:lnTo>
                    <a:lnTo>
                      <a:pt x="2884" y="2236"/>
                    </a:lnTo>
                    <a:lnTo>
                      <a:pt x="2880" y="2253"/>
                    </a:lnTo>
                    <a:lnTo>
                      <a:pt x="2880" y="2575"/>
                    </a:lnTo>
                    <a:lnTo>
                      <a:pt x="2884" y="2592"/>
                    </a:lnTo>
                    <a:lnTo>
                      <a:pt x="2893" y="2605"/>
                    </a:lnTo>
                    <a:lnTo>
                      <a:pt x="2907" y="2615"/>
                    </a:lnTo>
                    <a:lnTo>
                      <a:pt x="2924" y="2618"/>
                    </a:lnTo>
                    <a:lnTo>
                      <a:pt x="3245" y="2618"/>
                    </a:lnTo>
                    <a:lnTo>
                      <a:pt x="3262" y="2615"/>
                    </a:lnTo>
                    <a:lnTo>
                      <a:pt x="3276" y="2605"/>
                    </a:lnTo>
                    <a:lnTo>
                      <a:pt x="3285" y="2592"/>
                    </a:lnTo>
                    <a:lnTo>
                      <a:pt x="3288" y="2575"/>
                    </a:lnTo>
                    <a:lnTo>
                      <a:pt x="3288" y="2253"/>
                    </a:lnTo>
                    <a:lnTo>
                      <a:pt x="3285" y="2236"/>
                    </a:lnTo>
                    <a:lnTo>
                      <a:pt x="3276" y="2222"/>
                    </a:lnTo>
                    <a:lnTo>
                      <a:pt x="3262" y="2213"/>
                    </a:lnTo>
                    <a:lnTo>
                      <a:pt x="3245" y="2210"/>
                    </a:lnTo>
                    <a:lnTo>
                      <a:pt x="2924" y="2210"/>
                    </a:lnTo>
                    <a:close/>
                    <a:moveTo>
                      <a:pt x="502" y="2210"/>
                    </a:moveTo>
                    <a:lnTo>
                      <a:pt x="487" y="2213"/>
                    </a:lnTo>
                    <a:lnTo>
                      <a:pt x="473" y="2222"/>
                    </a:lnTo>
                    <a:lnTo>
                      <a:pt x="463" y="2236"/>
                    </a:lnTo>
                    <a:lnTo>
                      <a:pt x="460" y="2253"/>
                    </a:lnTo>
                    <a:lnTo>
                      <a:pt x="460" y="2575"/>
                    </a:lnTo>
                    <a:lnTo>
                      <a:pt x="463" y="2592"/>
                    </a:lnTo>
                    <a:lnTo>
                      <a:pt x="473" y="2605"/>
                    </a:lnTo>
                    <a:lnTo>
                      <a:pt x="487" y="2615"/>
                    </a:lnTo>
                    <a:lnTo>
                      <a:pt x="502" y="2618"/>
                    </a:lnTo>
                    <a:lnTo>
                      <a:pt x="824" y="2618"/>
                    </a:lnTo>
                    <a:lnTo>
                      <a:pt x="841" y="2615"/>
                    </a:lnTo>
                    <a:lnTo>
                      <a:pt x="855" y="2605"/>
                    </a:lnTo>
                    <a:lnTo>
                      <a:pt x="864" y="2592"/>
                    </a:lnTo>
                    <a:lnTo>
                      <a:pt x="867" y="2575"/>
                    </a:lnTo>
                    <a:lnTo>
                      <a:pt x="867" y="2253"/>
                    </a:lnTo>
                    <a:lnTo>
                      <a:pt x="864" y="2236"/>
                    </a:lnTo>
                    <a:lnTo>
                      <a:pt x="855" y="2222"/>
                    </a:lnTo>
                    <a:lnTo>
                      <a:pt x="841" y="2213"/>
                    </a:lnTo>
                    <a:lnTo>
                      <a:pt x="824" y="2210"/>
                    </a:lnTo>
                    <a:lnTo>
                      <a:pt x="502" y="2210"/>
                    </a:lnTo>
                    <a:close/>
                    <a:moveTo>
                      <a:pt x="2924" y="1665"/>
                    </a:moveTo>
                    <a:lnTo>
                      <a:pt x="2907" y="1668"/>
                    </a:lnTo>
                    <a:lnTo>
                      <a:pt x="2893" y="1677"/>
                    </a:lnTo>
                    <a:lnTo>
                      <a:pt x="2884" y="1691"/>
                    </a:lnTo>
                    <a:lnTo>
                      <a:pt x="2880" y="1707"/>
                    </a:lnTo>
                    <a:lnTo>
                      <a:pt x="2880" y="2029"/>
                    </a:lnTo>
                    <a:lnTo>
                      <a:pt x="2884" y="2046"/>
                    </a:lnTo>
                    <a:lnTo>
                      <a:pt x="2893" y="2060"/>
                    </a:lnTo>
                    <a:lnTo>
                      <a:pt x="2907" y="2069"/>
                    </a:lnTo>
                    <a:lnTo>
                      <a:pt x="2924" y="2072"/>
                    </a:lnTo>
                    <a:lnTo>
                      <a:pt x="3245" y="2072"/>
                    </a:lnTo>
                    <a:lnTo>
                      <a:pt x="3262" y="2069"/>
                    </a:lnTo>
                    <a:lnTo>
                      <a:pt x="3276" y="2060"/>
                    </a:lnTo>
                    <a:lnTo>
                      <a:pt x="3285" y="2046"/>
                    </a:lnTo>
                    <a:lnTo>
                      <a:pt x="3288" y="2029"/>
                    </a:lnTo>
                    <a:lnTo>
                      <a:pt x="3288" y="1707"/>
                    </a:lnTo>
                    <a:lnTo>
                      <a:pt x="3285" y="1691"/>
                    </a:lnTo>
                    <a:lnTo>
                      <a:pt x="3276" y="1677"/>
                    </a:lnTo>
                    <a:lnTo>
                      <a:pt x="3262" y="1668"/>
                    </a:lnTo>
                    <a:lnTo>
                      <a:pt x="3245" y="1665"/>
                    </a:lnTo>
                    <a:lnTo>
                      <a:pt x="2924" y="1665"/>
                    </a:lnTo>
                    <a:close/>
                    <a:moveTo>
                      <a:pt x="502" y="1665"/>
                    </a:moveTo>
                    <a:lnTo>
                      <a:pt x="487" y="1668"/>
                    </a:lnTo>
                    <a:lnTo>
                      <a:pt x="473" y="1677"/>
                    </a:lnTo>
                    <a:lnTo>
                      <a:pt x="463" y="1691"/>
                    </a:lnTo>
                    <a:lnTo>
                      <a:pt x="460" y="1707"/>
                    </a:lnTo>
                    <a:lnTo>
                      <a:pt x="460" y="2029"/>
                    </a:lnTo>
                    <a:lnTo>
                      <a:pt x="463" y="2046"/>
                    </a:lnTo>
                    <a:lnTo>
                      <a:pt x="473" y="2060"/>
                    </a:lnTo>
                    <a:lnTo>
                      <a:pt x="487" y="2069"/>
                    </a:lnTo>
                    <a:lnTo>
                      <a:pt x="502" y="2072"/>
                    </a:lnTo>
                    <a:lnTo>
                      <a:pt x="824" y="2072"/>
                    </a:lnTo>
                    <a:lnTo>
                      <a:pt x="841" y="2069"/>
                    </a:lnTo>
                    <a:lnTo>
                      <a:pt x="855" y="2060"/>
                    </a:lnTo>
                    <a:lnTo>
                      <a:pt x="864" y="2046"/>
                    </a:lnTo>
                    <a:lnTo>
                      <a:pt x="867" y="2029"/>
                    </a:lnTo>
                    <a:lnTo>
                      <a:pt x="867" y="1707"/>
                    </a:lnTo>
                    <a:lnTo>
                      <a:pt x="864" y="1691"/>
                    </a:lnTo>
                    <a:lnTo>
                      <a:pt x="855" y="1677"/>
                    </a:lnTo>
                    <a:lnTo>
                      <a:pt x="841" y="1668"/>
                    </a:lnTo>
                    <a:lnTo>
                      <a:pt x="824" y="1665"/>
                    </a:lnTo>
                    <a:lnTo>
                      <a:pt x="502" y="1665"/>
                    </a:lnTo>
                    <a:close/>
                    <a:moveTo>
                      <a:pt x="2107" y="1654"/>
                    </a:moveTo>
                    <a:lnTo>
                      <a:pt x="2090" y="1658"/>
                    </a:lnTo>
                    <a:lnTo>
                      <a:pt x="2076" y="1667"/>
                    </a:lnTo>
                    <a:lnTo>
                      <a:pt x="2067" y="1681"/>
                    </a:lnTo>
                    <a:lnTo>
                      <a:pt x="2063" y="1698"/>
                    </a:lnTo>
                    <a:lnTo>
                      <a:pt x="2063" y="2020"/>
                    </a:lnTo>
                    <a:lnTo>
                      <a:pt x="2067" y="2036"/>
                    </a:lnTo>
                    <a:lnTo>
                      <a:pt x="2076" y="2050"/>
                    </a:lnTo>
                    <a:lnTo>
                      <a:pt x="2090" y="2059"/>
                    </a:lnTo>
                    <a:lnTo>
                      <a:pt x="2107" y="2062"/>
                    </a:lnTo>
                    <a:lnTo>
                      <a:pt x="2428" y="2062"/>
                    </a:lnTo>
                    <a:lnTo>
                      <a:pt x="2445" y="2059"/>
                    </a:lnTo>
                    <a:lnTo>
                      <a:pt x="2458" y="2050"/>
                    </a:lnTo>
                    <a:lnTo>
                      <a:pt x="2468" y="2036"/>
                    </a:lnTo>
                    <a:lnTo>
                      <a:pt x="2471" y="2020"/>
                    </a:lnTo>
                    <a:lnTo>
                      <a:pt x="2471" y="1698"/>
                    </a:lnTo>
                    <a:lnTo>
                      <a:pt x="2468" y="1681"/>
                    </a:lnTo>
                    <a:lnTo>
                      <a:pt x="2458" y="1667"/>
                    </a:lnTo>
                    <a:lnTo>
                      <a:pt x="2445" y="1658"/>
                    </a:lnTo>
                    <a:lnTo>
                      <a:pt x="2428" y="1654"/>
                    </a:lnTo>
                    <a:lnTo>
                      <a:pt x="2107" y="1654"/>
                    </a:lnTo>
                    <a:close/>
                    <a:moveTo>
                      <a:pt x="1375" y="1654"/>
                    </a:moveTo>
                    <a:lnTo>
                      <a:pt x="1358" y="1658"/>
                    </a:lnTo>
                    <a:lnTo>
                      <a:pt x="1344" y="1667"/>
                    </a:lnTo>
                    <a:lnTo>
                      <a:pt x="1335" y="1681"/>
                    </a:lnTo>
                    <a:lnTo>
                      <a:pt x="1332" y="1698"/>
                    </a:lnTo>
                    <a:lnTo>
                      <a:pt x="1332" y="2020"/>
                    </a:lnTo>
                    <a:lnTo>
                      <a:pt x="1335" y="2036"/>
                    </a:lnTo>
                    <a:lnTo>
                      <a:pt x="1344" y="2050"/>
                    </a:lnTo>
                    <a:lnTo>
                      <a:pt x="1358" y="2059"/>
                    </a:lnTo>
                    <a:lnTo>
                      <a:pt x="1375" y="2062"/>
                    </a:lnTo>
                    <a:lnTo>
                      <a:pt x="1697" y="2062"/>
                    </a:lnTo>
                    <a:lnTo>
                      <a:pt x="1713" y="2059"/>
                    </a:lnTo>
                    <a:lnTo>
                      <a:pt x="1726" y="2050"/>
                    </a:lnTo>
                    <a:lnTo>
                      <a:pt x="1736" y="2036"/>
                    </a:lnTo>
                    <a:lnTo>
                      <a:pt x="1740" y="2020"/>
                    </a:lnTo>
                    <a:lnTo>
                      <a:pt x="1740" y="1698"/>
                    </a:lnTo>
                    <a:lnTo>
                      <a:pt x="1736" y="1681"/>
                    </a:lnTo>
                    <a:lnTo>
                      <a:pt x="1726" y="1667"/>
                    </a:lnTo>
                    <a:lnTo>
                      <a:pt x="1713" y="1658"/>
                    </a:lnTo>
                    <a:lnTo>
                      <a:pt x="1697" y="1654"/>
                    </a:lnTo>
                    <a:lnTo>
                      <a:pt x="1375" y="1654"/>
                    </a:lnTo>
                    <a:close/>
                    <a:moveTo>
                      <a:pt x="2107" y="1109"/>
                    </a:moveTo>
                    <a:lnTo>
                      <a:pt x="2090" y="1112"/>
                    </a:lnTo>
                    <a:lnTo>
                      <a:pt x="2076" y="1121"/>
                    </a:lnTo>
                    <a:lnTo>
                      <a:pt x="2067" y="1135"/>
                    </a:lnTo>
                    <a:lnTo>
                      <a:pt x="2063" y="1152"/>
                    </a:lnTo>
                    <a:lnTo>
                      <a:pt x="2063" y="1474"/>
                    </a:lnTo>
                    <a:lnTo>
                      <a:pt x="2067" y="1491"/>
                    </a:lnTo>
                    <a:lnTo>
                      <a:pt x="2076" y="1505"/>
                    </a:lnTo>
                    <a:lnTo>
                      <a:pt x="2090" y="1514"/>
                    </a:lnTo>
                    <a:lnTo>
                      <a:pt x="2107" y="1517"/>
                    </a:lnTo>
                    <a:lnTo>
                      <a:pt x="2428" y="1517"/>
                    </a:lnTo>
                    <a:lnTo>
                      <a:pt x="2445" y="1514"/>
                    </a:lnTo>
                    <a:lnTo>
                      <a:pt x="2458" y="1505"/>
                    </a:lnTo>
                    <a:lnTo>
                      <a:pt x="2468" y="1491"/>
                    </a:lnTo>
                    <a:lnTo>
                      <a:pt x="2471" y="1474"/>
                    </a:lnTo>
                    <a:lnTo>
                      <a:pt x="2471" y="1152"/>
                    </a:lnTo>
                    <a:lnTo>
                      <a:pt x="2468" y="1135"/>
                    </a:lnTo>
                    <a:lnTo>
                      <a:pt x="2458" y="1121"/>
                    </a:lnTo>
                    <a:lnTo>
                      <a:pt x="2445" y="1112"/>
                    </a:lnTo>
                    <a:lnTo>
                      <a:pt x="2428" y="1109"/>
                    </a:lnTo>
                    <a:lnTo>
                      <a:pt x="2107" y="1109"/>
                    </a:lnTo>
                    <a:close/>
                    <a:moveTo>
                      <a:pt x="1375" y="1109"/>
                    </a:moveTo>
                    <a:lnTo>
                      <a:pt x="1358" y="1112"/>
                    </a:lnTo>
                    <a:lnTo>
                      <a:pt x="1344" y="1121"/>
                    </a:lnTo>
                    <a:lnTo>
                      <a:pt x="1335" y="1135"/>
                    </a:lnTo>
                    <a:lnTo>
                      <a:pt x="1332" y="1152"/>
                    </a:lnTo>
                    <a:lnTo>
                      <a:pt x="1332" y="1474"/>
                    </a:lnTo>
                    <a:lnTo>
                      <a:pt x="1335" y="1491"/>
                    </a:lnTo>
                    <a:lnTo>
                      <a:pt x="1344" y="1505"/>
                    </a:lnTo>
                    <a:lnTo>
                      <a:pt x="1358" y="1514"/>
                    </a:lnTo>
                    <a:lnTo>
                      <a:pt x="1375" y="1517"/>
                    </a:lnTo>
                    <a:lnTo>
                      <a:pt x="1697" y="1517"/>
                    </a:lnTo>
                    <a:lnTo>
                      <a:pt x="1713" y="1514"/>
                    </a:lnTo>
                    <a:lnTo>
                      <a:pt x="1726" y="1505"/>
                    </a:lnTo>
                    <a:lnTo>
                      <a:pt x="1736" y="1491"/>
                    </a:lnTo>
                    <a:lnTo>
                      <a:pt x="1740" y="1474"/>
                    </a:lnTo>
                    <a:lnTo>
                      <a:pt x="1740" y="1152"/>
                    </a:lnTo>
                    <a:lnTo>
                      <a:pt x="1736" y="1135"/>
                    </a:lnTo>
                    <a:lnTo>
                      <a:pt x="1726" y="1121"/>
                    </a:lnTo>
                    <a:lnTo>
                      <a:pt x="1713" y="1112"/>
                    </a:lnTo>
                    <a:lnTo>
                      <a:pt x="1697" y="1109"/>
                    </a:lnTo>
                    <a:lnTo>
                      <a:pt x="1375" y="1109"/>
                    </a:lnTo>
                    <a:close/>
                    <a:moveTo>
                      <a:pt x="2924" y="1099"/>
                    </a:moveTo>
                    <a:lnTo>
                      <a:pt x="2907" y="1103"/>
                    </a:lnTo>
                    <a:lnTo>
                      <a:pt x="2893" y="1112"/>
                    </a:lnTo>
                    <a:lnTo>
                      <a:pt x="2884" y="1126"/>
                    </a:lnTo>
                    <a:lnTo>
                      <a:pt x="2880" y="1142"/>
                    </a:lnTo>
                    <a:lnTo>
                      <a:pt x="2880" y="1465"/>
                    </a:lnTo>
                    <a:lnTo>
                      <a:pt x="2884" y="1481"/>
                    </a:lnTo>
                    <a:lnTo>
                      <a:pt x="2893" y="1495"/>
                    </a:lnTo>
                    <a:lnTo>
                      <a:pt x="2907" y="1504"/>
                    </a:lnTo>
                    <a:lnTo>
                      <a:pt x="2924" y="1507"/>
                    </a:lnTo>
                    <a:lnTo>
                      <a:pt x="3245" y="1507"/>
                    </a:lnTo>
                    <a:lnTo>
                      <a:pt x="3262" y="1504"/>
                    </a:lnTo>
                    <a:lnTo>
                      <a:pt x="3276" y="1495"/>
                    </a:lnTo>
                    <a:lnTo>
                      <a:pt x="3285" y="1481"/>
                    </a:lnTo>
                    <a:lnTo>
                      <a:pt x="3288" y="1465"/>
                    </a:lnTo>
                    <a:lnTo>
                      <a:pt x="3288" y="1142"/>
                    </a:lnTo>
                    <a:lnTo>
                      <a:pt x="3285" y="1126"/>
                    </a:lnTo>
                    <a:lnTo>
                      <a:pt x="3276" y="1112"/>
                    </a:lnTo>
                    <a:lnTo>
                      <a:pt x="3262" y="1103"/>
                    </a:lnTo>
                    <a:lnTo>
                      <a:pt x="3245" y="1099"/>
                    </a:lnTo>
                    <a:lnTo>
                      <a:pt x="2924" y="1099"/>
                    </a:lnTo>
                    <a:close/>
                    <a:moveTo>
                      <a:pt x="502" y="1099"/>
                    </a:moveTo>
                    <a:lnTo>
                      <a:pt x="487" y="1103"/>
                    </a:lnTo>
                    <a:lnTo>
                      <a:pt x="473" y="1112"/>
                    </a:lnTo>
                    <a:lnTo>
                      <a:pt x="463" y="1126"/>
                    </a:lnTo>
                    <a:lnTo>
                      <a:pt x="460" y="1142"/>
                    </a:lnTo>
                    <a:lnTo>
                      <a:pt x="460" y="1465"/>
                    </a:lnTo>
                    <a:lnTo>
                      <a:pt x="463" y="1481"/>
                    </a:lnTo>
                    <a:lnTo>
                      <a:pt x="473" y="1495"/>
                    </a:lnTo>
                    <a:lnTo>
                      <a:pt x="487" y="1504"/>
                    </a:lnTo>
                    <a:lnTo>
                      <a:pt x="502" y="1507"/>
                    </a:lnTo>
                    <a:lnTo>
                      <a:pt x="824" y="1507"/>
                    </a:lnTo>
                    <a:lnTo>
                      <a:pt x="841" y="1504"/>
                    </a:lnTo>
                    <a:lnTo>
                      <a:pt x="855" y="1495"/>
                    </a:lnTo>
                    <a:lnTo>
                      <a:pt x="864" y="1481"/>
                    </a:lnTo>
                    <a:lnTo>
                      <a:pt x="867" y="1465"/>
                    </a:lnTo>
                    <a:lnTo>
                      <a:pt x="867" y="1142"/>
                    </a:lnTo>
                    <a:lnTo>
                      <a:pt x="864" y="1126"/>
                    </a:lnTo>
                    <a:lnTo>
                      <a:pt x="855" y="1112"/>
                    </a:lnTo>
                    <a:lnTo>
                      <a:pt x="841" y="1103"/>
                    </a:lnTo>
                    <a:lnTo>
                      <a:pt x="824" y="1099"/>
                    </a:lnTo>
                    <a:lnTo>
                      <a:pt x="502" y="1099"/>
                    </a:lnTo>
                    <a:close/>
                    <a:moveTo>
                      <a:pt x="2107" y="544"/>
                    </a:moveTo>
                    <a:lnTo>
                      <a:pt x="2090" y="548"/>
                    </a:lnTo>
                    <a:lnTo>
                      <a:pt x="2076" y="557"/>
                    </a:lnTo>
                    <a:lnTo>
                      <a:pt x="2067" y="571"/>
                    </a:lnTo>
                    <a:lnTo>
                      <a:pt x="2063" y="587"/>
                    </a:lnTo>
                    <a:lnTo>
                      <a:pt x="2063" y="909"/>
                    </a:lnTo>
                    <a:lnTo>
                      <a:pt x="2067" y="926"/>
                    </a:lnTo>
                    <a:lnTo>
                      <a:pt x="2076" y="940"/>
                    </a:lnTo>
                    <a:lnTo>
                      <a:pt x="2090" y="949"/>
                    </a:lnTo>
                    <a:lnTo>
                      <a:pt x="2107" y="952"/>
                    </a:lnTo>
                    <a:lnTo>
                      <a:pt x="2428" y="952"/>
                    </a:lnTo>
                    <a:lnTo>
                      <a:pt x="2445" y="949"/>
                    </a:lnTo>
                    <a:lnTo>
                      <a:pt x="2458" y="940"/>
                    </a:lnTo>
                    <a:lnTo>
                      <a:pt x="2468" y="926"/>
                    </a:lnTo>
                    <a:lnTo>
                      <a:pt x="2471" y="909"/>
                    </a:lnTo>
                    <a:lnTo>
                      <a:pt x="2471" y="587"/>
                    </a:lnTo>
                    <a:lnTo>
                      <a:pt x="2468" y="571"/>
                    </a:lnTo>
                    <a:lnTo>
                      <a:pt x="2458" y="557"/>
                    </a:lnTo>
                    <a:lnTo>
                      <a:pt x="2445" y="548"/>
                    </a:lnTo>
                    <a:lnTo>
                      <a:pt x="2428" y="544"/>
                    </a:lnTo>
                    <a:lnTo>
                      <a:pt x="2107" y="544"/>
                    </a:lnTo>
                    <a:close/>
                    <a:moveTo>
                      <a:pt x="1375" y="544"/>
                    </a:moveTo>
                    <a:lnTo>
                      <a:pt x="1358" y="548"/>
                    </a:lnTo>
                    <a:lnTo>
                      <a:pt x="1344" y="557"/>
                    </a:lnTo>
                    <a:lnTo>
                      <a:pt x="1335" y="571"/>
                    </a:lnTo>
                    <a:lnTo>
                      <a:pt x="1332" y="587"/>
                    </a:lnTo>
                    <a:lnTo>
                      <a:pt x="1332" y="909"/>
                    </a:lnTo>
                    <a:lnTo>
                      <a:pt x="1335" y="926"/>
                    </a:lnTo>
                    <a:lnTo>
                      <a:pt x="1344" y="940"/>
                    </a:lnTo>
                    <a:lnTo>
                      <a:pt x="1358" y="949"/>
                    </a:lnTo>
                    <a:lnTo>
                      <a:pt x="1375" y="952"/>
                    </a:lnTo>
                    <a:lnTo>
                      <a:pt x="1697" y="952"/>
                    </a:lnTo>
                    <a:lnTo>
                      <a:pt x="1713" y="949"/>
                    </a:lnTo>
                    <a:lnTo>
                      <a:pt x="1726" y="940"/>
                    </a:lnTo>
                    <a:lnTo>
                      <a:pt x="1736" y="926"/>
                    </a:lnTo>
                    <a:lnTo>
                      <a:pt x="1740" y="909"/>
                    </a:lnTo>
                    <a:lnTo>
                      <a:pt x="1740" y="587"/>
                    </a:lnTo>
                    <a:lnTo>
                      <a:pt x="1736" y="571"/>
                    </a:lnTo>
                    <a:lnTo>
                      <a:pt x="1726" y="557"/>
                    </a:lnTo>
                    <a:lnTo>
                      <a:pt x="1713" y="548"/>
                    </a:lnTo>
                    <a:lnTo>
                      <a:pt x="1697" y="544"/>
                    </a:lnTo>
                    <a:lnTo>
                      <a:pt x="1375" y="544"/>
                    </a:lnTo>
                    <a:close/>
                    <a:moveTo>
                      <a:pt x="1032" y="0"/>
                    </a:moveTo>
                    <a:lnTo>
                      <a:pt x="2770" y="0"/>
                    </a:lnTo>
                    <a:lnTo>
                      <a:pt x="2787" y="2"/>
                    </a:lnTo>
                    <a:lnTo>
                      <a:pt x="2801" y="10"/>
                    </a:lnTo>
                    <a:lnTo>
                      <a:pt x="2813" y="21"/>
                    </a:lnTo>
                    <a:lnTo>
                      <a:pt x="2820" y="36"/>
                    </a:lnTo>
                    <a:lnTo>
                      <a:pt x="2823" y="53"/>
                    </a:lnTo>
                    <a:lnTo>
                      <a:pt x="2823" y="149"/>
                    </a:lnTo>
                    <a:lnTo>
                      <a:pt x="2820" y="165"/>
                    </a:lnTo>
                    <a:lnTo>
                      <a:pt x="2813" y="180"/>
                    </a:lnTo>
                    <a:lnTo>
                      <a:pt x="2801" y="193"/>
                    </a:lnTo>
                    <a:lnTo>
                      <a:pt x="2787" y="200"/>
                    </a:lnTo>
                    <a:lnTo>
                      <a:pt x="2770" y="203"/>
                    </a:lnTo>
                    <a:lnTo>
                      <a:pt x="2764" y="203"/>
                    </a:lnTo>
                    <a:lnTo>
                      <a:pt x="2761" y="204"/>
                    </a:lnTo>
                    <a:lnTo>
                      <a:pt x="2757" y="204"/>
                    </a:lnTo>
                    <a:lnTo>
                      <a:pt x="2756" y="206"/>
                    </a:lnTo>
                    <a:lnTo>
                      <a:pt x="2755" y="208"/>
                    </a:lnTo>
                    <a:lnTo>
                      <a:pt x="2754" y="210"/>
                    </a:lnTo>
                    <a:lnTo>
                      <a:pt x="2754" y="211"/>
                    </a:lnTo>
                    <a:lnTo>
                      <a:pt x="2754" y="620"/>
                    </a:lnTo>
                    <a:lnTo>
                      <a:pt x="2754" y="621"/>
                    </a:lnTo>
                    <a:lnTo>
                      <a:pt x="2754" y="626"/>
                    </a:lnTo>
                    <a:lnTo>
                      <a:pt x="2756" y="632"/>
                    </a:lnTo>
                    <a:lnTo>
                      <a:pt x="2761" y="638"/>
                    </a:lnTo>
                    <a:lnTo>
                      <a:pt x="2768" y="643"/>
                    </a:lnTo>
                    <a:lnTo>
                      <a:pt x="2779" y="645"/>
                    </a:lnTo>
                    <a:lnTo>
                      <a:pt x="3528" y="645"/>
                    </a:lnTo>
                    <a:lnTo>
                      <a:pt x="3553" y="648"/>
                    </a:lnTo>
                    <a:lnTo>
                      <a:pt x="3575" y="659"/>
                    </a:lnTo>
                    <a:lnTo>
                      <a:pt x="3596" y="673"/>
                    </a:lnTo>
                    <a:lnTo>
                      <a:pt x="3611" y="693"/>
                    </a:lnTo>
                    <a:lnTo>
                      <a:pt x="3621" y="716"/>
                    </a:lnTo>
                    <a:lnTo>
                      <a:pt x="3624" y="742"/>
                    </a:lnTo>
                    <a:lnTo>
                      <a:pt x="3624" y="2859"/>
                    </a:lnTo>
                    <a:lnTo>
                      <a:pt x="3624" y="2860"/>
                    </a:lnTo>
                    <a:lnTo>
                      <a:pt x="3624" y="2865"/>
                    </a:lnTo>
                    <a:lnTo>
                      <a:pt x="3626" y="2871"/>
                    </a:lnTo>
                    <a:lnTo>
                      <a:pt x="3629" y="2878"/>
                    </a:lnTo>
                    <a:lnTo>
                      <a:pt x="3634" y="2883"/>
                    </a:lnTo>
                    <a:lnTo>
                      <a:pt x="3640" y="2888"/>
                    </a:lnTo>
                    <a:lnTo>
                      <a:pt x="3649" y="2889"/>
                    </a:lnTo>
                    <a:lnTo>
                      <a:pt x="3696" y="2889"/>
                    </a:lnTo>
                    <a:lnTo>
                      <a:pt x="3713" y="2892"/>
                    </a:lnTo>
                    <a:lnTo>
                      <a:pt x="3728" y="2899"/>
                    </a:lnTo>
                    <a:lnTo>
                      <a:pt x="3739" y="2912"/>
                    </a:lnTo>
                    <a:lnTo>
                      <a:pt x="3747" y="2926"/>
                    </a:lnTo>
                    <a:lnTo>
                      <a:pt x="3750" y="2943"/>
                    </a:lnTo>
                    <a:lnTo>
                      <a:pt x="3750" y="3055"/>
                    </a:lnTo>
                    <a:lnTo>
                      <a:pt x="3747" y="3072"/>
                    </a:lnTo>
                    <a:lnTo>
                      <a:pt x="3739" y="3087"/>
                    </a:lnTo>
                    <a:lnTo>
                      <a:pt x="3728" y="3098"/>
                    </a:lnTo>
                    <a:lnTo>
                      <a:pt x="3713" y="3106"/>
                    </a:lnTo>
                    <a:lnTo>
                      <a:pt x="3696" y="3108"/>
                    </a:lnTo>
                    <a:lnTo>
                      <a:pt x="54" y="3108"/>
                    </a:lnTo>
                    <a:lnTo>
                      <a:pt x="36" y="3106"/>
                    </a:lnTo>
                    <a:lnTo>
                      <a:pt x="22" y="3098"/>
                    </a:lnTo>
                    <a:lnTo>
                      <a:pt x="10" y="3087"/>
                    </a:lnTo>
                    <a:lnTo>
                      <a:pt x="2" y="3072"/>
                    </a:lnTo>
                    <a:lnTo>
                      <a:pt x="0" y="3055"/>
                    </a:lnTo>
                    <a:lnTo>
                      <a:pt x="0" y="2943"/>
                    </a:lnTo>
                    <a:lnTo>
                      <a:pt x="2" y="2926"/>
                    </a:lnTo>
                    <a:lnTo>
                      <a:pt x="10" y="2912"/>
                    </a:lnTo>
                    <a:lnTo>
                      <a:pt x="22" y="2899"/>
                    </a:lnTo>
                    <a:lnTo>
                      <a:pt x="36" y="2892"/>
                    </a:lnTo>
                    <a:lnTo>
                      <a:pt x="54" y="2889"/>
                    </a:lnTo>
                    <a:lnTo>
                      <a:pt x="91" y="2889"/>
                    </a:lnTo>
                    <a:lnTo>
                      <a:pt x="103" y="2889"/>
                    </a:lnTo>
                    <a:lnTo>
                      <a:pt x="112" y="2887"/>
                    </a:lnTo>
                    <a:lnTo>
                      <a:pt x="118" y="2882"/>
                    </a:lnTo>
                    <a:lnTo>
                      <a:pt x="122" y="2876"/>
                    </a:lnTo>
                    <a:lnTo>
                      <a:pt x="124" y="2866"/>
                    </a:lnTo>
                    <a:lnTo>
                      <a:pt x="124" y="742"/>
                    </a:lnTo>
                    <a:lnTo>
                      <a:pt x="128" y="716"/>
                    </a:lnTo>
                    <a:lnTo>
                      <a:pt x="137" y="693"/>
                    </a:lnTo>
                    <a:lnTo>
                      <a:pt x="152" y="673"/>
                    </a:lnTo>
                    <a:lnTo>
                      <a:pt x="172" y="659"/>
                    </a:lnTo>
                    <a:lnTo>
                      <a:pt x="195" y="648"/>
                    </a:lnTo>
                    <a:lnTo>
                      <a:pt x="220" y="645"/>
                    </a:lnTo>
                    <a:lnTo>
                      <a:pt x="1028" y="645"/>
                    </a:lnTo>
                    <a:lnTo>
                      <a:pt x="1037" y="643"/>
                    </a:lnTo>
                    <a:lnTo>
                      <a:pt x="1043" y="638"/>
                    </a:lnTo>
                    <a:lnTo>
                      <a:pt x="1046" y="631"/>
                    </a:lnTo>
                    <a:lnTo>
                      <a:pt x="1047" y="623"/>
                    </a:lnTo>
                    <a:lnTo>
                      <a:pt x="1048" y="616"/>
                    </a:lnTo>
                    <a:lnTo>
                      <a:pt x="1048" y="612"/>
                    </a:lnTo>
                    <a:lnTo>
                      <a:pt x="1048" y="610"/>
                    </a:lnTo>
                    <a:lnTo>
                      <a:pt x="1048" y="218"/>
                    </a:lnTo>
                    <a:lnTo>
                      <a:pt x="1048" y="217"/>
                    </a:lnTo>
                    <a:lnTo>
                      <a:pt x="1048" y="216"/>
                    </a:lnTo>
                    <a:lnTo>
                      <a:pt x="1048" y="213"/>
                    </a:lnTo>
                    <a:lnTo>
                      <a:pt x="1047" y="211"/>
                    </a:lnTo>
                    <a:lnTo>
                      <a:pt x="1046" y="209"/>
                    </a:lnTo>
                    <a:lnTo>
                      <a:pt x="1044" y="206"/>
                    </a:lnTo>
                    <a:lnTo>
                      <a:pt x="1041" y="204"/>
                    </a:lnTo>
                    <a:lnTo>
                      <a:pt x="1037" y="203"/>
                    </a:lnTo>
                    <a:lnTo>
                      <a:pt x="1032" y="203"/>
                    </a:lnTo>
                    <a:lnTo>
                      <a:pt x="1015" y="200"/>
                    </a:lnTo>
                    <a:lnTo>
                      <a:pt x="1002" y="193"/>
                    </a:lnTo>
                    <a:lnTo>
                      <a:pt x="989" y="180"/>
                    </a:lnTo>
                    <a:lnTo>
                      <a:pt x="982" y="165"/>
                    </a:lnTo>
                    <a:lnTo>
                      <a:pt x="979" y="149"/>
                    </a:lnTo>
                    <a:lnTo>
                      <a:pt x="979" y="53"/>
                    </a:lnTo>
                    <a:lnTo>
                      <a:pt x="982" y="36"/>
                    </a:lnTo>
                    <a:lnTo>
                      <a:pt x="989" y="21"/>
                    </a:lnTo>
                    <a:lnTo>
                      <a:pt x="1002" y="10"/>
                    </a:lnTo>
                    <a:lnTo>
                      <a:pt x="1015" y="2"/>
                    </a:lnTo>
                    <a:lnTo>
                      <a:pt x="1032" y="0"/>
                    </a:lnTo>
                    <a:close/>
                  </a:path>
                </a:pathLst>
              </a:custGeom>
              <a:solidFill>
                <a:srgbClr val="02467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73" name="Group 472">
              <a:extLst>
                <a:ext uri="{FF2B5EF4-FFF2-40B4-BE49-F238E27FC236}">
                  <a16:creationId xmlns:a16="http://schemas.microsoft.com/office/drawing/2014/main" id="{5B7CE977-51B4-43F3-979A-E1ECB48055A0}"/>
                </a:ext>
              </a:extLst>
            </p:cNvPr>
            <p:cNvGrpSpPr/>
            <p:nvPr/>
          </p:nvGrpSpPr>
          <p:grpSpPr>
            <a:xfrm>
              <a:off x="1852317" y="3161795"/>
              <a:ext cx="3899486" cy="962533"/>
              <a:chOff x="2110641" y="5913613"/>
              <a:chExt cx="3707896" cy="922363"/>
            </a:xfrm>
          </p:grpSpPr>
          <p:cxnSp>
            <p:nvCxnSpPr>
              <p:cNvPr id="474" name="Straight Connector 473">
                <a:extLst>
                  <a:ext uri="{FF2B5EF4-FFF2-40B4-BE49-F238E27FC236}">
                    <a16:creationId xmlns:a16="http://schemas.microsoft.com/office/drawing/2014/main" id="{C88A9402-D9BA-4A8F-A247-1EEC426CE39F}"/>
                  </a:ext>
                </a:extLst>
              </p:cNvPr>
              <p:cNvCxnSpPr>
                <a:cxnSpLocks/>
                <a:endCxn id="477" idx="4"/>
              </p:cNvCxnSpPr>
              <p:nvPr/>
            </p:nvCxnSpPr>
            <p:spPr>
              <a:xfrm rot="5400000" flipH="1" flipV="1">
                <a:off x="5159683" y="6124973"/>
                <a:ext cx="708213" cy="501495"/>
              </a:xfrm>
              <a:prstGeom prst="bentConnector3">
                <a:avLst>
                  <a:gd name="adj1" fmla="val 860"/>
                </a:avLst>
              </a:prstGeom>
              <a:ln>
                <a:solidFill>
                  <a:srgbClr val="02467C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5" name="Freeform 51">
                <a:extLst>
                  <a:ext uri="{FF2B5EF4-FFF2-40B4-BE49-F238E27FC236}">
                    <a16:creationId xmlns:a16="http://schemas.microsoft.com/office/drawing/2014/main" id="{06AC688F-910C-4603-808F-87ABC03B1A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6640" y="6626939"/>
                <a:ext cx="180000" cy="180000"/>
              </a:xfrm>
              <a:custGeom>
                <a:avLst/>
                <a:gdLst>
                  <a:gd name="T0" fmla="*/ 1613 w 3750"/>
                  <a:gd name="T1" fmla="*/ 2844 h 3108"/>
                  <a:gd name="T2" fmla="*/ 2171 w 3750"/>
                  <a:gd name="T3" fmla="*/ 2883 h 3108"/>
                  <a:gd name="T4" fmla="*/ 2184 w 3750"/>
                  <a:gd name="T5" fmla="*/ 2315 h 3108"/>
                  <a:gd name="T6" fmla="*/ 2893 w 3750"/>
                  <a:gd name="T7" fmla="*/ 2222 h 3108"/>
                  <a:gd name="T8" fmla="*/ 2907 w 3750"/>
                  <a:gd name="T9" fmla="*/ 2615 h 3108"/>
                  <a:gd name="T10" fmla="*/ 3288 w 3750"/>
                  <a:gd name="T11" fmla="*/ 2575 h 3108"/>
                  <a:gd name="T12" fmla="*/ 2924 w 3750"/>
                  <a:gd name="T13" fmla="*/ 2210 h 3108"/>
                  <a:gd name="T14" fmla="*/ 460 w 3750"/>
                  <a:gd name="T15" fmla="*/ 2575 h 3108"/>
                  <a:gd name="T16" fmla="*/ 841 w 3750"/>
                  <a:gd name="T17" fmla="*/ 2615 h 3108"/>
                  <a:gd name="T18" fmla="*/ 855 w 3750"/>
                  <a:gd name="T19" fmla="*/ 2222 h 3108"/>
                  <a:gd name="T20" fmla="*/ 2893 w 3750"/>
                  <a:gd name="T21" fmla="*/ 1677 h 3108"/>
                  <a:gd name="T22" fmla="*/ 2907 w 3750"/>
                  <a:gd name="T23" fmla="*/ 2069 h 3108"/>
                  <a:gd name="T24" fmla="*/ 3288 w 3750"/>
                  <a:gd name="T25" fmla="*/ 2029 h 3108"/>
                  <a:gd name="T26" fmla="*/ 2924 w 3750"/>
                  <a:gd name="T27" fmla="*/ 1665 h 3108"/>
                  <a:gd name="T28" fmla="*/ 460 w 3750"/>
                  <a:gd name="T29" fmla="*/ 2029 h 3108"/>
                  <a:gd name="T30" fmla="*/ 841 w 3750"/>
                  <a:gd name="T31" fmla="*/ 2069 h 3108"/>
                  <a:gd name="T32" fmla="*/ 855 w 3750"/>
                  <a:gd name="T33" fmla="*/ 1677 h 3108"/>
                  <a:gd name="T34" fmla="*/ 2076 w 3750"/>
                  <a:gd name="T35" fmla="*/ 1667 h 3108"/>
                  <a:gd name="T36" fmla="*/ 2090 w 3750"/>
                  <a:gd name="T37" fmla="*/ 2059 h 3108"/>
                  <a:gd name="T38" fmla="*/ 2471 w 3750"/>
                  <a:gd name="T39" fmla="*/ 2020 h 3108"/>
                  <a:gd name="T40" fmla="*/ 2107 w 3750"/>
                  <a:gd name="T41" fmla="*/ 1654 h 3108"/>
                  <a:gd name="T42" fmla="*/ 1332 w 3750"/>
                  <a:gd name="T43" fmla="*/ 2020 h 3108"/>
                  <a:gd name="T44" fmla="*/ 1713 w 3750"/>
                  <a:gd name="T45" fmla="*/ 2059 h 3108"/>
                  <a:gd name="T46" fmla="*/ 1726 w 3750"/>
                  <a:gd name="T47" fmla="*/ 1667 h 3108"/>
                  <a:gd name="T48" fmla="*/ 2076 w 3750"/>
                  <a:gd name="T49" fmla="*/ 1121 h 3108"/>
                  <a:gd name="T50" fmla="*/ 2090 w 3750"/>
                  <a:gd name="T51" fmla="*/ 1514 h 3108"/>
                  <a:gd name="T52" fmla="*/ 2471 w 3750"/>
                  <a:gd name="T53" fmla="*/ 1474 h 3108"/>
                  <a:gd name="T54" fmla="*/ 2107 w 3750"/>
                  <a:gd name="T55" fmla="*/ 1109 h 3108"/>
                  <a:gd name="T56" fmla="*/ 1332 w 3750"/>
                  <a:gd name="T57" fmla="*/ 1474 h 3108"/>
                  <a:gd name="T58" fmla="*/ 1713 w 3750"/>
                  <a:gd name="T59" fmla="*/ 1514 h 3108"/>
                  <a:gd name="T60" fmla="*/ 1726 w 3750"/>
                  <a:gd name="T61" fmla="*/ 1121 h 3108"/>
                  <a:gd name="T62" fmla="*/ 2893 w 3750"/>
                  <a:gd name="T63" fmla="*/ 1112 h 3108"/>
                  <a:gd name="T64" fmla="*/ 2907 w 3750"/>
                  <a:gd name="T65" fmla="*/ 1504 h 3108"/>
                  <a:gd name="T66" fmla="*/ 3288 w 3750"/>
                  <a:gd name="T67" fmla="*/ 1465 h 3108"/>
                  <a:gd name="T68" fmla="*/ 2924 w 3750"/>
                  <a:gd name="T69" fmla="*/ 1099 h 3108"/>
                  <a:gd name="T70" fmla="*/ 460 w 3750"/>
                  <a:gd name="T71" fmla="*/ 1465 h 3108"/>
                  <a:gd name="T72" fmla="*/ 841 w 3750"/>
                  <a:gd name="T73" fmla="*/ 1504 h 3108"/>
                  <a:gd name="T74" fmla="*/ 855 w 3750"/>
                  <a:gd name="T75" fmla="*/ 1112 h 3108"/>
                  <a:gd name="T76" fmla="*/ 2076 w 3750"/>
                  <a:gd name="T77" fmla="*/ 557 h 3108"/>
                  <a:gd name="T78" fmla="*/ 2090 w 3750"/>
                  <a:gd name="T79" fmla="*/ 949 h 3108"/>
                  <a:gd name="T80" fmla="*/ 2471 w 3750"/>
                  <a:gd name="T81" fmla="*/ 909 h 3108"/>
                  <a:gd name="T82" fmla="*/ 2107 w 3750"/>
                  <a:gd name="T83" fmla="*/ 544 h 3108"/>
                  <a:gd name="T84" fmla="*/ 1332 w 3750"/>
                  <a:gd name="T85" fmla="*/ 909 h 3108"/>
                  <a:gd name="T86" fmla="*/ 1713 w 3750"/>
                  <a:gd name="T87" fmla="*/ 949 h 3108"/>
                  <a:gd name="T88" fmla="*/ 1726 w 3750"/>
                  <a:gd name="T89" fmla="*/ 557 h 3108"/>
                  <a:gd name="T90" fmla="*/ 2787 w 3750"/>
                  <a:gd name="T91" fmla="*/ 2 h 3108"/>
                  <a:gd name="T92" fmla="*/ 2820 w 3750"/>
                  <a:gd name="T93" fmla="*/ 165 h 3108"/>
                  <a:gd name="T94" fmla="*/ 2761 w 3750"/>
                  <a:gd name="T95" fmla="*/ 204 h 3108"/>
                  <a:gd name="T96" fmla="*/ 2754 w 3750"/>
                  <a:gd name="T97" fmla="*/ 620 h 3108"/>
                  <a:gd name="T98" fmla="*/ 2779 w 3750"/>
                  <a:gd name="T99" fmla="*/ 645 h 3108"/>
                  <a:gd name="T100" fmla="*/ 3621 w 3750"/>
                  <a:gd name="T101" fmla="*/ 716 h 3108"/>
                  <a:gd name="T102" fmla="*/ 3629 w 3750"/>
                  <a:gd name="T103" fmla="*/ 2878 h 3108"/>
                  <a:gd name="T104" fmla="*/ 3728 w 3750"/>
                  <a:gd name="T105" fmla="*/ 2899 h 3108"/>
                  <a:gd name="T106" fmla="*/ 3739 w 3750"/>
                  <a:gd name="T107" fmla="*/ 3087 h 3108"/>
                  <a:gd name="T108" fmla="*/ 22 w 3750"/>
                  <a:gd name="T109" fmla="*/ 3098 h 3108"/>
                  <a:gd name="T110" fmla="*/ 10 w 3750"/>
                  <a:gd name="T111" fmla="*/ 2912 h 3108"/>
                  <a:gd name="T112" fmla="*/ 112 w 3750"/>
                  <a:gd name="T113" fmla="*/ 2887 h 3108"/>
                  <a:gd name="T114" fmla="*/ 137 w 3750"/>
                  <a:gd name="T115" fmla="*/ 693 h 3108"/>
                  <a:gd name="T116" fmla="*/ 1037 w 3750"/>
                  <a:gd name="T117" fmla="*/ 643 h 3108"/>
                  <a:gd name="T118" fmla="*/ 1048 w 3750"/>
                  <a:gd name="T119" fmla="*/ 610 h 3108"/>
                  <a:gd name="T120" fmla="*/ 1046 w 3750"/>
                  <a:gd name="T121" fmla="*/ 209 h 3108"/>
                  <a:gd name="T122" fmla="*/ 1002 w 3750"/>
                  <a:gd name="T123" fmla="*/ 193 h 3108"/>
                  <a:gd name="T124" fmla="*/ 989 w 3750"/>
                  <a:gd name="T125" fmla="*/ 21 h 3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50" h="3108">
                    <a:moveTo>
                      <a:pt x="1657" y="2302"/>
                    </a:moveTo>
                    <a:lnTo>
                      <a:pt x="1640" y="2305"/>
                    </a:lnTo>
                    <a:lnTo>
                      <a:pt x="1626" y="2315"/>
                    </a:lnTo>
                    <a:lnTo>
                      <a:pt x="1617" y="2328"/>
                    </a:lnTo>
                    <a:lnTo>
                      <a:pt x="1613" y="2345"/>
                    </a:lnTo>
                    <a:lnTo>
                      <a:pt x="1613" y="2844"/>
                    </a:lnTo>
                    <a:lnTo>
                      <a:pt x="1617" y="2860"/>
                    </a:lnTo>
                    <a:lnTo>
                      <a:pt x="1626" y="2874"/>
                    </a:lnTo>
                    <a:lnTo>
                      <a:pt x="1640" y="2883"/>
                    </a:lnTo>
                    <a:lnTo>
                      <a:pt x="1657" y="2887"/>
                    </a:lnTo>
                    <a:lnTo>
                      <a:pt x="2155" y="2887"/>
                    </a:lnTo>
                    <a:lnTo>
                      <a:pt x="2171" y="2883"/>
                    </a:lnTo>
                    <a:lnTo>
                      <a:pt x="2184" y="2874"/>
                    </a:lnTo>
                    <a:lnTo>
                      <a:pt x="2193" y="2860"/>
                    </a:lnTo>
                    <a:lnTo>
                      <a:pt x="2197" y="2844"/>
                    </a:lnTo>
                    <a:lnTo>
                      <a:pt x="2197" y="2345"/>
                    </a:lnTo>
                    <a:lnTo>
                      <a:pt x="2193" y="2328"/>
                    </a:lnTo>
                    <a:lnTo>
                      <a:pt x="2184" y="2315"/>
                    </a:lnTo>
                    <a:lnTo>
                      <a:pt x="2171" y="2305"/>
                    </a:lnTo>
                    <a:lnTo>
                      <a:pt x="2155" y="2302"/>
                    </a:lnTo>
                    <a:lnTo>
                      <a:pt x="1657" y="2302"/>
                    </a:lnTo>
                    <a:close/>
                    <a:moveTo>
                      <a:pt x="2924" y="2210"/>
                    </a:moveTo>
                    <a:lnTo>
                      <a:pt x="2907" y="2213"/>
                    </a:lnTo>
                    <a:lnTo>
                      <a:pt x="2893" y="2222"/>
                    </a:lnTo>
                    <a:lnTo>
                      <a:pt x="2884" y="2236"/>
                    </a:lnTo>
                    <a:lnTo>
                      <a:pt x="2880" y="2253"/>
                    </a:lnTo>
                    <a:lnTo>
                      <a:pt x="2880" y="2575"/>
                    </a:lnTo>
                    <a:lnTo>
                      <a:pt x="2884" y="2592"/>
                    </a:lnTo>
                    <a:lnTo>
                      <a:pt x="2893" y="2605"/>
                    </a:lnTo>
                    <a:lnTo>
                      <a:pt x="2907" y="2615"/>
                    </a:lnTo>
                    <a:lnTo>
                      <a:pt x="2924" y="2618"/>
                    </a:lnTo>
                    <a:lnTo>
                      <a:pt x="3245" y="2618"/>
                    </a:lnTo>
                    <a:lnTo>
                      <a:pt x="3262" y="2615"/>
                    </a:lnTo>
                    <a:lnTo>
                      <a:pt x="3276" y="2605"/>
                    </a:lnTo>
                    <a:lnTo>
                      <a:pt x="3285" y="2592"/>
                    </a:lnTo>
                    <a:lnTo>
                      <a:pt x="3288" y="2575"/>
                    </a:lnTo>
                    <a:lnTo>
                      <a:pt x="3288" y="2253"/>
                    </a:lnTo>
                    <a:lnTo>
                      <a:pt x="3285" y="2236"/>
                    </a:lnTo>
                    <a:lnTo>
                      <a:pt x="3276" y="2222"/>
                    </a:lnTo>
                    <a:lnTo>
                      <a:pt x="3262" y="2213"/>
                    </a:lnTo>
                    <a:lnTo>
                      <a:pt x="3245" y="2210"/>
                    </a:lnTo>
                    <a:lnTo>
                      <a:pt x="2924" y="2210"/>
                    </a:lnTo>
                    <a:close/>
                    <a:moveTo>
                      <a:pt x="502" y="2210"/>
                    </a:moveTo>
                    <a:lnTo>
                      <a:pt x="487" y="2213"/>
                    </a:lnTo>
                    <a:lnTo>
                      <a:pt x="473" y="2222"/>
                    </a:lnTo>
                    <a:lnTo>
                      <a:pt x="463" y="2236"/>
                    </a:lnTo>
                    <a:lnTo>
                      <a:pt x="460" y="2253"/>
                    </a:lnTo>
                    <a:lnTo>
                      <a:pt x="460" y="2575"/>
                    </a:lnTo>
                    <a:lnTo>
                      <a:pt x="463" y="2592"/>
                    </a:lnTo>
                    <a:lnTo>
                      <a:pt x="473" y="2605"/>
                    </a:lnTo>
                    <a:lnTo>
                      <a:pt x="487" y="2615"/>
                    </a:lnTo>
                    <a:lnTo>
                      <a:pt x="502" y="2618"/>
                    </a:lnTo>
                    <a:lnTo>
                      <a:pt x="824" y="2618"/>
                    </a:lnTo>
                    <a:lnTo>
                      <a:pt x="841" y="2615"/>
                    </a:lnTo>
                    <a:lnTo>
                      <a:pt x="855" y="2605"/>
                    </a:lnTo>
                    <a:lnTo>
                      <a:pt x="864" y="2592"/>
                    </a:lnTo>
                    <a:lnTo>
                      <a:pt x="867" y="2575"/>
                    </a:lnTo>
                    <a:lnTo>
                      <a:pt x="867" y="2253"/>
                    </a:lnTo>
                    <a:lnTo>
                      <a:pt x="864" y="2236"/>
                    </a:lnTo>
                    <a:lnTo>
                      <a:pt x="855" y="2222"/>
                    </a:lnTo>
                    <a:lnTo>
                      <a:pt x="841" y="2213"/>
                    </a:lnTo>
                    <a:lnTo>
                      <a:pt x="824" y="2210"/>
                    </a:lnTo>
                    <a:lnTo>
                      <a:pt x="502" y="2210"/>
                    </a:lnTo>
                    <a:close/>
                    <a:moveTo>
                      <a:pt x="2924" y="1665"/>
                    </a:moveTo>
                    <a:lnTo>
                      <a:pt x="2907" y="1668"/>
                    </a:lnTo>
                    <a:lnTo>
                      <a:pt x="2893" y="1677"/>
                    </a:lnTo>
                    <a:lnTo>
                      <a:pt x="2884" y="1691"/>
                    </a:lnTo>
                    <a:lnTo>
                      <a:pt x="2880" y="1707"/>
                    </a:lnTo>
                    <a:lnTo>
                      <a:pt x="2880" y="2029"/>
                    </a:lnTo>
                    <a:lnTo>
                      <a:pt x="2884" y="2046"/>
                    </a:lnTo>
                    <a:lnTo>
                      <a:pt x="2893" y="2060"/>
                    </a:lnTo>
                    <a:lnTo>
                      <a:pt x="2907" y="2069"/>
                    </a:lnTo>
                    <a:lnTo>
                      <a:pt x="2924" y="2072"/>
                    </a:lnTo>
                    <a:lnTo>
                      <a:pt x="3245" y="2072"/>
                    </a:lnTo>
                    <a:lnTo>
                      <a:pt x="3262" y="2069"/>
                    </a:lnTo>
                    <a:lnTo>
                      <a:pt x="3276" y="2060"/>
                    </a:lnTo>
                    <a:lnTo>
                      <a:pt x="3285" y="2046"/>
                    </a:lnTo>
                    <a:lnTo>
                      <a:pt x="3288" y="2029"/>
                    </a:lnTo>
                    <a:lnTo>
                      <a:pt x="3288" y="1707"/>
                    </a:lnTo>
                    <a:lnTo>
                      <a:pt x="3285" y="1691"/>
                    </a:lnTo>
                    <a:lnTo>
                      <a:pt x="3276" y="1677"/>
                    </a:lnTo>
                    <a:lnTo>
                      <a:pt x="3262" y="1668"/>
                    </a:lnTo>
                    <a:lnTo>
                      <a:pt x="3245" y="1665"/>
                    </a:lnTo>
                    <a:lnTo>
                      <a:pt x="2924" y="1665"/>
                    </a:lnTo>
                    <a:close/>
                    <a:moveTo>
                      <a:pt x="502" y="1665"/>
                    </a:moveTo>
                    <a:lnTo>
                      <a:pt x="487" y="1668"/>
                    </a:lnTo>
                    <a:lnTo>
                      <a:pt x="473" y="1677"/>
                    </a:lnTo>
                    <a:lnTo>
                      <a:pt x="463" y="1691"/>
                    </a:lnTo>
                    <a:lnTo>
                      <a:pt x="460" y="1707"/>
                    </a:lnTo>
                    <a:lnTo>
                      <a:pt x="460" y="2029"/>
                    </a:lnTo>
                    <a:lnTo>
                      <a:pt x="463" y="2046"/>
                    </a:lnTo>
                    <a:lnTo>
                      <a:pt x="473" y="2060"/>
                    </a:lnTo>
                    <a:lnTo>
                      <a:pt x="487" y="2069"/>
                    </a:lnTo>
                    <a:lnTo>
                      <a:pt x="502" y="2072"/>
                    </a:lnTo>
                    <a:lnTo>
                      <a:pt x="824" y="2072"/>
                    </a:lnTo>
                    <a:lnTo>
                      <a:pt x="841" y="2069"/>
                    </a:lnTo>
                    <a:lnTo>
                      <a:pt x="855" y="2060"/>
                    </a:lnTo>
                    <a:lnTo>
                      <a:pt x="864" y="2046"/>
                    </a:lnTo>
                    <a:lnTo>
                      <a:pt x="867" y="2029"/>
                    </a:lnTo>
                    <a:lnTo>
                      <a:pt x="867" y="1707"/>
                    </a:lnTo>
                    <a:lnTo>
                      <a:pt x="864" y="1691"/>
                    </a:lnTo>
                    <a:lnTo>
                      <a:pt x="855" y="1677"/>
                    </a:lnTo>
                    <a:lnTo>
                      <a:pt x="841" y="1668"/>
                    </a:lnTo>
                    <a:lnTo>
                      <a:pt x="824" y="1665"/>
                    </a:lnTo>
                    <a:lnTo>
                      <a:pt x="502" y="1665"/>
                    </a:lnTo>
                    <a:close/>
                    <a:moveTo>
                      <a:pt x="2107" y="1654"/>
                    </a:moveTo>
                    <a:lnTo>
                      <a:pt x="2090" y="1658"/>
                    </a:lnTo>
                    <a:lnTo>
                      <a:pt x="2076" y="1667"/>
                    </a:lnTo>
                    <a:lnTo>
                      <a:pt x="2067" y="1681"/>
                    </a:lnTo>
                    <a:lnTo>
                      <a:pt x="2063" y="1698"/>
                    </a:lnTo>
                    <a:lnTo>
                      <a:pt x="2063" y="2020"/>
                    </a:lnTo>
                    <a:lnTo>
                      <a:pt x="2067" y="2036"/>
                    </a:lnTo>
                    <a:lnTo>
                      <a:pt x="2076" y="2050"/>
                    </a:lnTo>
                    <a:lnTo>
                      <a:pt x="2090" y="2059"/>
                    </a:lnTo>
                    <a:lnTo>
                      <a:pt x="2107" y="2062"/>
                    </a:lnTo>
                    <a:lnTo>
                      <a:pt x="2428" y="2062"/>
                    </a:lnTo>
                    <a:lnTo>
                      <a:pt x="2445" y="2059"/>
                    </a:lnTo>
                    <a:lnTo>
                      <a:pt x="2458" y="2050"/>
                    </a:lnTo>
                    <a:lnTo>
                      <a:pt x="2468" y="2036"/>
                    </a:lnTo>
                    <a:lnTo>
                      <a:pt x="2471" y="2020"/>
                    </a:lnTo>
                    <a:lnTo>
                      <a:pt x="2471" y="1698"/>
                    </a:lnTo>
                    <a:lnTo>
                      <a:pt x="2468" y="1681"/>
                    </a:lnTo>
                    <a:lnTo>
                      <a:pt x="2458" y="1667"/>
                    </a:lnTo>
                    <a:lnTo>
                      <a:pt x="2445" y="1658"/>
                    </a:lnTo>
                    <a:lnTo>
                      <a:pt x="2428" y="1654"/>
                    </a:lnTo>
                    <a:lnTo>
                      <a:pt x="2107" y="1654"/>
                    </a:lnTo>
                    <a:close/>
                    <a:moveTo>
                      <a:pt x="1375" y="1654"/>
                    </a:moveTo>
                    <a:lnTo>
                      <a:pt x="1358" y="1658"/>
                    </a:lnTo>
                    <a:lnTo>
                      <a:pt x="1344" y="1667"/>
                    </a:lnTo>
                    <a:lnTo>
                      <a:pt x="1335" y="1681"/>
                    </a:lnTo>
                    <a:lnTo>
                      <a:pt x="1332" y="1698"/>
                    </a:lnTo>
                    <a:lnTo>
                      <a:pt x="1332" y="2020"/>
                    </a:lnTo>
                    <a:lnTo>
                      <a:pt x="1335" y="2036"/>
                    </a:lnTo>
                    <a:lnTo>
                      <a:pt x="1344" y="2050"/>
                    </a:lnTo>
                    <a:lnTo>
                      <a:pt x="1358" y="2059"/>
                    </a:lnTo>
                    <a:lnTo>
                      <a:pt x="1375" y="2062"/>
                    </a:lnTo>
                    <a:lnTo>
                      <a:pt x="1697" y="2062"/>
                    </a:lnTo>
                    <a:lnTo>
                      <a:pt x="1713" y="2059"/>
                    </a:lnTo>
                    <a:lnTo>
                      <a:pt x="1726" y="2050"/>
                    </a:lnTo>
                    <a:lnTo>
                      <a:pt x="1736" y="2036"/>
                    </a:lnTo>
                    <a:lnTo>
                      <a:pt x="1740" y="2020"/>
                    </a:lnTo>
                    <a:lnTo>
                      <a:pt x="1740" y="1698"/>
                    </a:lnTo>
                    <a:lnTo>
                      <a:pt x="1736" y="1681"/>
                    </a:lnTo>
                    <a:lnTo>
                      <a:pt x="1726" y="1667"/>
                    </a:lnTo>
                    <a:lnTo>
                      <a:pt x="1713" y="1658"/>
                    </a:lnTo>
                    <a:lnTo>
                      <a:pt x="1697" y="1654"/>
                    </a:lnTo>
                    <a:lnTo>
                      <a:pt x="1375" y="1654"/>
                    </a:lnTo>
                    <a:close/>
                    <a:moveTo>
                      <a:pt x="2107" y="1109"/>
                    </a:moveTo>
                    <a:lnTo>
                      <a:pt x="2090" y="1112"/>
                    </a:lnTo>
                    <a:lnTo>
                      <a:pt x="2076" y="1121"/>
                    </a:lnTo>
                    <a:lnTo>
                      <a:pt x="2067" y="1135"/>
                    </a:lnTo>
                    <a:lnTo>
                      <a:pt x="2063" y="1152"/>
                    </a:lnTo>
                    <a:lnTo>
                      <a:pt x="2063" y="1474"/>
                    </a:lnTo>
                    <a:lnTo>
                      <a:pt x="2067" y="1491"/>
                    </a:lnTo>
                    <a:lnTo>
                      <a:pt x="2076" y="1505"/>
                    </a:lnTo>
                    <a:lnTo>
                      <a:pt x="2090" y="1514"/>
                    </a:lnTo>
                    <a:lnTo>
                      <a:pt x="2107" y="1517"/>
                    </a:lnTo>
                    <a:lnTo>
                      <a:pt x="2428" y="1517"/>
                    </a:lnTo>
                    <a:lnTo>
                      <a:pt x="2445" y="1514"/>
                    </a:lnTo>
                    <a:lnTo>
                      <a:pt x="2458" y="1505"/>
                    </a:lnTo>
                    <a:lnTo>
                      <a:pt x="2468" y="1491"/>
                    </a:lnTo>
                    <a:lnTo>
                      <a:pt x="2471" y="1474"/>
                    </a:lnTo>
                    <a:lnTo>
                      <a:pt x="2471" y="1152"/>
                    </a:lnTo>
                    <a:lnTo>
                      <a:pt x="2468" y="1135"/>
                    </a:lnTo>
                    <a:lnTo>
                      <a:pt x="2458" y="1121"/>
                    </a:lnTo>
                    <a:lnTo>
                      <a:pt x="2445" y="1112"/>
                    </a:lnTo>
                    <a:lnTo>
                      <a:pt x="2428" y="1109"/>
                    </a:lnTo>
                    <a:lnTo>
                      <a:pt x="2107" y="1109"/>
                    </a:lnTo>
                    <a:close/>
                    <a:moveTo>
                      <a:pt x="1375" y="1109"/>
                    </a:moveTo>
                    <a:lnTo>
                      <a:pt x="1358" y="1112"/>
                    </a:lnTo>
                    <a:lnTo>
                      <a:pt x="1344" y="1121"/>
                    </a:lnTo>
                    <a:lnTo>
                      <a:pt x="1335" y="1135"/>
                    </a:lnTo>
                    <a:lnTo>
                      <a:pt x="1332" y="1152"/>
                    </a:lnTo>
                    <a:lnTo>
                      <a:pt x="1332" y="1474"/>
                    </a:lnTo>
                    <a:lnTo>
                      <a:pt x="1335" y="1491"/>
                    </a:lnTo>
                    <a:lnTo>
                      <a:pt x="1344" y="1505"/>
                    </a:lnTo>
                    <a:lnTo>
                      <a:pt x="1358" y="1514"/>
                    </a:lnTo>
                    <a:lnTo>
                      <a:pt x="1375" y="1517"/>
                    </a:lnTo>
                    <a:lnTo>
                      <a:pt x="1697" y="1517"/>
                    </a:lnTo>
                    <a:lnTo>
                      <a:pt x="1713" y="1514"/>
                    </a:lnTo>
                    <a:lnTo>
                      <a:pt x="1726" y="1505"/>
                    </a:lnTo>
                    <a:lnTo>
                      <a:pt x="1736" y="1491"/>
                    </a:lnTo>
                    <a:lnTo>
                      <a:pt x="1740" y="1474"/>
                    </a:lnTo>
                    <a:lnTo>
                      <a:pt x="1740" y="1152"/>
                    </a:lnTo>
                    <a:lnTo>
                      <a:pt x="1736" y="1135"/>
                    </a:lnTo>
                    <a:lnTo>
                      <a:pt x="1726" y="1121"/>
                    </a:lnTo>
                    <a:lnTo>
                      <a:pt x="1713" y="1112"/>
                    </a:lnTo>
                    <a:lnTo>
                      <a:pt x="1697" y="1109"/>
                    </a:lnTo>
                    <a:lnTo>
                      <a:pt x="1375" y="1109"/>
                    </a:lnTo>
                    <a:close/>
                    <a:moveTo>
                      <a:pt x="2924" y="1099"/>
                    </a:moveTo>
                    <a:lnTo>
                      <a:pt x="2907" y="1103"/>
                    </a:lnTo>
                    <a:lnTo>
                      <a:pt x="2893" y="1112"/>
                    </a:lnTo>
                    <a:lnTo>
                      <a:pt x="2884" y="1126"/>
                    </a:lnTo>
                    <a:lnTo>
                      <a:pt x="2880" y="1142"/>
                    </a:lnTo>
                    <a:lnTo>
                      <a:pt x="2880" y="1465"/>
                    </a:lnTo>
                    <a:lnTo>
                      <a:pt x="2884" y="1481"/>
                    </a:lnTo>
                    <a:lnTo>
                      <a:pt x="2893" y="1495"/>
                    </a:lnTo>
                    <a:lnTo>
                      <a:pt x="2907" y="1504"/>
                    </a:lnTo>
                    <a:lnTo>
                      <a:pt x="2924" y="1507"/>
                    </a:lnTo>
                    <a:lnTo>
                      <a:pt x="3245" y="1507"/>
                    </a:lnTo>
                    <a:lnTo>
                      <a:pt x="3262" y="1504"/>
                    </a:lnTo>
                    <a:lnTo>
                      <a:pt x="3276" y="1495"/>
                    </a:lnTo>
                    <a:lnTo>
                      <a:pt x="3285" y="1481"/>
                    </a:lnTo>
                    <a:lnTo>
                      <a:pt x="3288" y="1465"/>
                    </a:lnTo>
                    <a:lnTo>
                      <a:pt x="3288" y="1142"/>
                    </a:lnTo>
                    <a:lnTo>
                      <a:pt x="3285" y="1126"/>
                    </a:lnTo>
                    <a:lnTo>
                      <a:pt x="3276" y="1112"/>
                    </a:lnTo>
                    <a:lnTo>
                      <a:pt x="3262" y="1103"/>
                    </a:lnTo>
                    <a:lnTo>
                      <a:pt x="3245" y="1099"/>
                    </a:lnTo>
                    <a:lnTo>
                      <a:pt x="2924" y="1099"/>
                    </a:lnTo>
                    <a:close/>
                    <a:moveTo>
                      <a:pt x="502" y="1099"/>
                    </a:moveTo>
                    <a:lnTo>
                      <a:pt x="487" y="1103"/>
                    </a:lnTo>
                    <a:lnTo>
                      <a:pt x="473" y="1112"/>
                    </a:lnTo>
                    <a:lnTo>
                      <a:pt x="463" y="1126"/>
                    </a:lnTo>
                    <a:lnTo>
                      <a:pt x="460" y="1142"/>
                    </a:lnTo>
                    <a:lnTo>
                      <a:pt x="460" y="1465"/>
                    </a:lnTo>
                    <a:lnTo>
                      <a:pt x="463" y="1481"/>
                    </a:lnTo>
                    <a:lnTo>
                      <a:pt x="473" y="1495"/>
                    </a:lnTo>
                    <a:lnTo>
                      <a:pt x="487" y="1504"/>
                    </a:lnTo>
                    <a:lnTo>
                      <a:pt x="502" y="1507"/>
                    </a:lnTo>
                    <a:lnTo>
                      <a:pt x="824" y="1507"/>
                    </a:lnTo>
                    <a:lnTo>
                      <a:pt x="841" y="1504"/>
                    </a:lnTo>
                    <a:lnTo>
                      <a:pt x="855" y="1495"/>
                    </a:lnTo>
                    <a:lnTo>
                      <a:pt x="864" y="1481"/>
                    </a:lnTo>
                    <a:lnTo>
                      <a:pt x="867" y="1465"/>
                    </a:lnTo>
                    <a:lnTo>
                      <a:pt x="867" y="1142"/>
                    </a:lnTo>
                    <a:lnTo>
                      <a:pt x="864" y="1126"/>
                    </a:lnTo>
                    <a:lnTo>
                      <a:pt x="855" y="1112"/>
                    </a:lnTo>
                    <a:lnTo>
                      <a:pt x="841" y="1103"/>
                    </a:lnTo>
                    <a:lnTo>
                      <a:pt x="824" y="1099"/>
                    </a:lnTo>
                    <a:lnTo>
                      <a:pt x="502" y="1099"/>
                    </a:lnTo>
                    <a:close/>
                    <a:moveTo>
                      <a:pt x="2107" y="544"/>
                    </a:moveTo>
                    <a:lnTo>
                      <a:pt x="2090" y="548"/>
                    </a:lnTo>
                    <a:lnTo>
                      <a:pt x="2076" y="557"/>
                    </a:lnTo>
                    <a:lnTo>
                      <a:pt x="2067" y="571"/>
                    </a:lnTo>
                    <a:lnTo>
                      <a:pt x="2063" y="587"/>
                    </a:lnTo>
                    <a:lnTo>
                      <a:pt x="2063" y="909"/>
                    </a:lnTo>
                    <a:lnTo>
                      <a:pt x="2067" y="926"/>
                    </a:lnTo>
                    <a:lnTo>
                      <a:pt x="2076" y="940"/>
                    </a:lnTo>
                    <a:lnTo>
                      <a:pt x="2090" y="949"/>
                    </a:lnTo>
                    <a:lnTo>
                      <a:pt x="2107" y="952"/>
                    </a:lnTo>
                    <a:lnTo>
                      <a:pt x="2428" y="952"/>
                    </a:lnTo>
                    <a:lnTo>
                      <a:pt x="2445" y="949"/>
                    </a:lnTo>
                    <a:lnTo>
                      <a:pt x="2458" y="940"/>
                    </a:lnTo>
                    <a:lnTo>
                      <a:pt x="2468" y="926"/>
                    </a:lnTo>
                    <a:lnTo>
                      <a:pt x="2471" y="909"/>
                    </a:lnTo>
                    <a:lnTo>
                      <a:pt x="2471" y="587"/>
                    </a:lnTo>
                    <a:lnTo>
                      <a:pt x="2468" y="571"/>
                    </a:lnTo>
                    <a:lnTo>
                      <a:pt x="2458" y="557"/>
                    </a:lnTo>
                    <a:lnTo>
                      <a:pt x="2445" y="548"/>
                    </a:lnTo>
                    <a:lnTo>
                      <a:pt x="2428" y="544"/>
                    </a:lnTo>
                    <a:lnTo>
                      <a:pt x="2107" y="544"/>
                    </a:lnTo>
                    <a:close/>
                    <a:moveTo>
                      <a:pt x="1375" y="544"/>
                    </a:moveTo>
                    <a:lnTo>
                      <a:pt x="1358" y="548"/>
                    </a:lnTo>
                    <a:lnTo>
                      <a:pt x="1344" y="557"/>
                    </a:lnTo>
                    <a:lnTo>
                      <a:pt x="1335" y="571"/>
                    </a:lnTo>
                    <a:lnTo>
                      <a:pt x="1332" y="587"/>
                    </a:lnTo>
                    <a:lnTo>
                      <a:pt x="1332" y="909"/>
                    </a:lnTo>
                    <a:lnTo>
                      <a:pt x="1335" y="926"/>
                    </a:lnTo>
                    <a:lnTo>
                      <a:pt x="1344" y="940"/>
                    </a:lnTo>
                    <a:lnTo>
                      <a:pt x="1358" y="949"/>
                    </a:lnTo>
                    <a:lnTo>
                      <a:pt x="1375" y="952"/>
                    </a:lnTo>
                    <a:lnTo>
                      <a:pt x="1697" y="952"/>
                    </a:lnTo>
                    <a:lnTo>
                      <a:pt x="1713" y="949"/>
                    </a:lnTo>
                    <a:lnTo>
                      <a:pt x="1726" y="940"/>
                    </a:lnTo>
                    <a:lnTo>
                      <a:pt x="1736" y="926"/>
                    </a:lnTo>
                    <a:lnTo>
                      <a:pt x="1740" y="909"/>
                    </a:lnTo>
                    <a:lnTo>
                      <a:pt x="1740" y="587"/>
                    </a:lnTo>
                    <a:lnTo>
                      <a:pt x="1736" y="571"/>
                    </a:lnTo>
                    <a:lnTo>
                      <a:pt x="1726" y="557"/>
                    </a:lnTo>
                    <a:lnTo>
                      <a:pt x="1713" y="548"/>
                    </a:lnTo>
                    <a:lnTo>
                      <a:pt x="1697" y="544"/>
                    </a:lnTo>
                    <a:lnTo>
                      <a:pt x="1375" y="544"/>
                    </a:lnTo>
                    <a:close/>
                    <a:moveTo>
                      <a:pt x="1032" y="0"/>
                    </a:moveTo>
                    <a:lnTo>
                      <a:pt x="2770" y="0"/>
                    </a:lnTo>
                    <a:lnTo>
                      <a:pt x="2787" y="2"/>
                    </a:lnTo>
                    <a:lnTo>
                      <a:pt x="2801" y="10"/>
                    </a:lnTo>
                    <a:lnTo>
                      <a:pt x="2813" y="21"/>
                    </a:lnTo>
                    <a:lnTo>
                      <a:pt x="2820" y="36"/>
                    </a:lnTo>
                    <a:lnTo>
                      <a:pt x="2823" y="53"/>
                    </a:lnTo>
                    <a:lnTo>
                      <a:pt x="2823" y="149"/>
                    </a:lnTo>
                    <a:lnTo>
                      <a:pt x="2820" y="165"/>
                    </a:lnTo>
                    <a:lnTo>
                      <a:pt x="2813" y="180"/>
                    </a:lnTo>
                    <a:lnTo>
                      <a:pt x="2801" y="193"/>
                    </a:lnTo>
                    <a:lnTo>
                      <a:pt x="2787" y="200"/>
                    </a:lnTo>
                    <a:lnTo>
                      <a:pt x="2770" y="203"/>
                    </a:lnTo>
                    <a:lnTo>
                      <a:pt x="2764" y="203"/>
                    </a:lnTo>
                    <a:lnTo>
                      <a:pt x="2761" y="204"/>
                    </a:lnTo>
                    <a:lnTo>
                      <a:pt x="2757" y="204"/>
                    </a:lnTo>
                    <a:lnTo>
                      <a:pt x="2756" y="206"/>
                    </a:lnTo>
                    <a:lnTo>
                      <a:pt x="2755" y="208"/>
                    </a:lnTo>
                    <a:lnTo>
                      <a:pt x="2754" y="210"/>
                    </a:lnTo>
                    <a:lnTo>
                      <a:pt x="2754" y="211"/>
                    </a:lnTo>
                    <a:lnTo>
                      <a:pt x="2754" y="620"/>
                    </a:lnTo>
                    <a:lnTo>
                      <a:pt x="2754" y="621"/>
                    </a:lnTo>
                    <a:lnTo>
                      <a:pt x="2754" y="626"/>
                    </a:lnTo>
                    <a:lnTo>
                      <a:pt x="2756" y="632"/>
                    </a:lnTo>
                    <a:lnTo>
                      <a:pt x="2761" y="638"/>
                    </a:lnTo>
                    <a:lnTo>
                      <a:pt x="2768" y="643"/>
                    </a:lnTo>
                    <a:lnTo>
                      <a:pt x="2779" y="645"/>
                    </a:lnTo>
                    <a:lnTo>
                      <a:pt x="3528" y="645"/>
                    </a:lnTo>
                    <a:lnTo>
                      <a:pt x="3553" y="648"/>
                    </a:lnTo>
                    <a:lnTo>
                      <a:pt x="3575" y="659"/>
                    </a:lnTo>
                    <a:lnTo>
                      <a:pt x="3596" y="673"/>
                    </a:lnTo>
                    <a:lnTo>
                      <a:pt x="3611" y="693"/>
                    </a:lnTo>
                    <a:lnTo>
                      <a:pt x="3621" y="716"/>
                    </a:lnTo>
                    <a:lnTo>
                      <a:pt x="3624" y="742"/>
                    </a:lnTo>
                    <a:lnTo>
                      <a:pt x="3624" y="2859"/>
                    </a:lnTo>
                    <a:lnTo>
                      <a:pt x="3624" y="2860"/>
                    </a:lnTo>
                    <a:lnTo>
                      <a:pt x="3624" y="2865"/>
                    </a:lnTo>
                    <a:lnTo>
                      <a:pt x="3626" y="2871"/>
                    </a:lnTo>
                    <a:lnTo>
                      <a:pt x="3629" y="2878"/>
                    </a:lnTo>
                    <a:lnTo>
                      <a:pt x="3634" y="2883"/>
                    </a:lnTo>
                    <a:lnTo>
                      <a:pt x="3640" y="2888"/>
                    </a:lnTo>
                    <a:lnTo>
                      <a:pt x="3649" y="2889"/>
                    </a:lnTo>
                    <a:lnTo>
                      <a:pt x="3696" y="2889"/>
                    </a:lnTo>
                    <a:lnTo>
                      <a:pt x="3713" y="2892"/>
                    </a:lnTo>
                    <a:lnTo>
                      <a:pt x="3728" y="2899"/>
                    </a:lnTo>
                    <a:lnTo>
                      <a:pt x="3739" y="2912"/>
                    </a:lnTo>
                    <a:lnTo>
                      <a:pt x="3747" y="2926"/>
                    </a:lnTo>
                    <a:lnTo>
                      <a:pt x="3750" y="2943"/>
                    </a:lnTo>
                    <a:lnTo>
                      <a:pt x="3750" y="3055"/>
                    </a:lnTo>
                    <a:lnTo>
                      <a:pt x="3747" y="3072"/>
                    </a:lnTo>
                    <a:lnTo>
                      <a:pt x="3739" y="3087"/>
                    </a:lnTo>
                    <a:lnTo>
                      <a:pt x="3728" y="3098"/>
                    </a:lnTo>
                    <a:lnTo>
                      <a:pt x="3713" y="3106"/>
                    </a:lnTo>
                    <a:lnTo>
                      <a:pt x="3696" y="3108"/>
                    </a:lnTo>
                    <a:lnTo>
                      <a:pt x="54" y="3108"/>
                    </a:lnTo>
                    <a:lnTo>
                      <a:pt x="36" y="3106"/>
                    </a:lnTo>
                    <a:lnTo>
                      <a:pt x="22" y="3098"/>
                    </a:lnTo>
                    <a:lnTo>
                      <a:pt x="10" y="3087"/>
                    </a:lnTo>
                    <a:lnTo>
                      <a:pt x="2" y="3072"/>
                    </a:lnTo>
                    <a:lnTo>
                      <a:pt x="0" y="3055"/>
                    </a:lnTo>
                    <a:lnTo>
                      <a:pt x="0" y="2943"/>
                    </a:lnTo>
                    <a:lnTo>
                      <a:pt x="2" y="2926"/>
                    </a:lnTo>
                    <a:lnTo>
                      <a:pt x="10" y="2912"/>
                    </a:lnTo>
                    <a:lnTo>
                      <a:pt x="22" y="2899"/>
                    </a:lnTo>
                    <a:lnTo>
                      <a:pt x="36" y="2892"/>
                    </a:lnTo>
                    <a:lnTo>
                      <a:pt x="54" y="2889"/>
                    </a:lnTo>
                    <a:lnTo>
                      <a:pt x="91" y="2889"/>
                    </a:lnTo>
                    <a:lnTo>
                      <a:pt x="103" y="2889"/>
                    </a:lnTo>
                    <a:lnTo>
                      <a:pt x="112" y="2887"/>
                    </a:lnTo>
                    <a:lnTo>
                      <a:pt x="118" y="2882"/>
                    </a:lnTo>
                    <a:lnTo>
                      <a:pt x="122" y="2876"/>
                    </a:lnTo>
                    <a:lnTo>
                      <a:pt x="124" y="2866"/>
                    </a:lnTo>
                    <a:lnTo>
                      <a:pt x="124" y="742"/>
                    </a:lnTo>
                    <a:lnTo>
                      <a:pt x="128" y="716"/>
                    </a:lnTo>
                    <a:lnTo>
                      <a:pt x="137" y="693"/>
                    </a:lnTo>
                    <a:lnTo>
                      <a:pt x="152" y="673"/>
                    </a:lnTo>
                    <a:lnTo>
                      <a:pt x="172" y="659"/>
                    </a:lnTo>
                    <a:lnTo>
                      <a:pt x="195" y="648"/>
                    </a:lnTo>
                    <a:lnTo>
                      <a:pt x="220" y="645"/>
                    </a:lnTo>
                    <a:lnTo>
                      <a:pt x="1028" y="645"/>
                    </a:lnTo>
                    <a:lnTo>
                      <a:pt x="1037" y="643"/>
                    </a:lnTo>
                    <a:lnTo>
                      <a:pt x="1043" y="638"/>
                    </a:lnTo>
                    <a:lnTo>
                      <a:pt x="1046" y="631"/>
                    </a:lnTo>
                    <a:lnTo>
                      <a:pt x="1047" y="623"/>
                    </a:lnTo>
                    <a:lnTo>
                      <a:pt x="1048" y="616"/>
                    </a:lnTo>
                    <a:lnTo>
                      <a:pt x="1048" y="612"/>
                    </a:lnTo>
                    <a:lnTo>
                      <a:pt x="1048" y="610"/>
                    </a:lnTo>
                    <a:lnTo>
                      <a:pt x="1048" y="218"/>
                    </a:lnTo>
                    <a:lnTo>
                      <a:pt x="1048" y="217"/>
                    </a:lnTo>
                    <a:lnTo>
                      <a:pt x="1048" y="216"/>
                    </a:lnTo>
                    <a:lnTo>
                      <a:pt x="1048" y="213"/>
                    </a:lnTo>
                    <a:lnTo>
                      <a:pt x="1047" y="211"/>
                    </a:lnTo>
                    <a:lnTo>
                      <a:pt x="1046" y="209"/>
                    </a:lnTo>
                    <a:lnTo>
                      <a:pt x="1044" y="206"/>
                    </a:lnTo>
                    <a:lnTo>
                      <a:pt x="1041" y="204"/>
                    </a:lnTo>
                    <a:lnTo>
                      <a:pt x="1037" y="203"/>
                    </a:lnTo>
                    <a:lnTo>
                      <a:pt x="1032" y="203"/>
                    </a:lnTo>
                    <a:lnTo>
                      <a:pt x="1015" y="200"/>
                    </a:lnTo>
                    <a:lnTo>
                      <a:pt x="1002" y="193"/>
                    </a:lnTo>
                    <a:lnTo>
                      <a:pt x="989" y="180"/>
                    </a:lnTo>
                    <a:lnTo>
                      <a:pt x="982" y="165"/>
                    </a:lnTo>
                    <a:lnTo>
                      <a:pt x="979" y="149"/>
                    </a:lnTo>
                    <a:lnTo>
                      <a:pt x="979" y="53"/>
                    </a:lnTo>
                    <a:lnTo>
                      <a:pt x="982" y="36"/>
                    </a:lnTo>
                    <a:lnTo>
                      <a:pt x="989" y="21"/>
                    </a:lnTo>
                    <a:lnTo>
                      <a:pt x="1002" y="10"/>
                    </a:lnTo>
                    <a:lnTo>
                      <a:pt x="1015" y="2"/>
                    </a:lnTo>
                    <a:lnTo>
                      <a:pt x="1032" y="0"/>
                    </a:lnTo>
                    <a:close/>
                  </a:path>
                </a:pathLst>
              </a:custGeom>
              <a:solidFill>
                <a:srgbClr val="02467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                  </a:t>
                </a:r>
              </a:p>
            </p:txBody>
          </p:sp>
          <p:sp>
            <p:nvSpPr>
              <p:cNvPr id="476" name="Rectangle 475">
                <a:extLst>
                  <a:ext uri="{FF2B5EF4-FFF2-40B4-BE49-F238E27FC236}">
                    <a16:creationId xmlns:a16="http://schemas.microsoft.com/office/drawing/2014/main" id="{793F4F39-2B2A-434D-A4E6-DCBD6C417B2D}"/>
                  </a:ext>
                </a:extLst>
              </p:cNvPr>
              <p:cNvSpPr/>
              <p:nvPr/>
            </p:nvSpPr>
            <p:spPr>
              <a:xfrm>
                <a:off x="2110641" y="6629398"/>
                <a:ext cx="2929151" cy="20657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13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Douala, Cameroon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| Office</a:t>
                </a:r>
              </a:p>
            </p:txBody>
          </p:sp>
          <p:sp>
            <p:nvSpPr>
              <p:cNvPr id="477" name="Oval 476">
                <a:extLst>
                  <a:ext uri="{FF2B5EF4-FFF2-40B4-BE49-F238E27FC236}">
                    <a16:creationId xmlns:a16="http://schemas.microsoft.com/office/drawing/2014/main" id="{EE53ECF5-25B7-4E56-808D-6A19537462AA}"/>
                  </a:ext>
                </a:extLst>
              </p:cNvPr>
              <p:cNvSpPr/>
              <p:nvPr/>
            </p:nvSpPr>
            <p:spPr>
              <a:xfrm>
                <a:off x="5710537" y="5913613"/>
                <a:ext cx="108000" cy="108000"/>
              </a:xfrm>
              <a:prstGeom prst="ellipse">
                <a:avLst/>
              </a:prstGeom>
              <a:solidFill>
                <a:srgbClr val="02467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478" name="Group 477">
              <a:extLst>
                <a:ext uri="{FF2B5EF4-FFF2-40B4-BE49-F238E27FC236}">
                  <a16:creationId xmlns:a16="http://schemas.microsoft.com/office/drawing/2014/main" id="{265EAA94-7592-4BFB-9B2D-77C4EF63FC51}"/>
                </a:ext>
              </a:extLst>
            </p:cNvPr>
            <p:cNvGrpSpPr/>
            <p:nvPr/>
          </p:nvGrpSpPr>
          <p:grpSpPr>
            <a:xfrm>
              <a:off x="6909122" y="3378859"/>
              <a:ext cx="3896586" cy="241337"/>
              <a:chOff x="5901863" y="5520871"/>
              <a:chExt cx="3705135" cy="231265"/>
            </a:xfrm>
          </p:grpSpPr>
          <p:sp>
            <p:nvSpPr>
              <p:cNvPr id="479" name="Freeform 51">
                <a:extLst>
                  <a:ext uri="{FF2B5EF4-FFF2-40B4-BE49-F238E27FC236}">
                    <a16:creationId xmlns:a16="http://schemas.microsoft.com/office/drawing/2014/main" id="{076B43FD-46B4-4060-8794-199DF71124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909" y="5526641"/>
                <a:ext cx="180000" cy="180000"/>
              </a:xfrm>
              <a:custGeom>
                <a:avLst/>
                <a:gdLst>
                  <a:gd name="T0" fmla="*/ 1613 w 3750"/>
                  <a:gd name="T1" fmla="*/ 2844 h 3108"/>
                  <a:gd name="T2" fmla="*/ 2171 w 3750"/>
                  <a:gd name="T3" fmla="*/ 2883 h 3108"/>
                  <a:gd name="T4" fmla="*/ 2184 w 3750"/>
                  <a:gd name="T5" fmla="*/ 2315 h 3108"/>
                  <a:gd name="T6" fmla="*/ 2893 w 3750"/>
                  <a:gd name="T7" fmla="*/ 2222 h 3108"/>
                  <a:gd name="T8" fmla="*/ 2907 w 3750"/>
                  <a:gd name="T9" fmla="*/ 2615 h 3108"/>
                  <a:gd name="T10" fmla="*/ 3288 w 3750"/>
                  <a:gd name="T11" fmla="*/ 2575 h 3108"/>
                  <a:gd name="T12" fmla="*/ 2924 w 3750"/>
                  <a:gd name="T13" fmla="*/ 2210 h 3108"/>
                  <a:gd name="T14" fmla="*/ 460 w 3750"/>
                  <a:gd name="T15" fmla="*/ 2575 h 3108"/>
                  <a:gd name="T16" fmla="*/ 841 w 3750"/>
                  <a:gd name="T17" fmla="*/ 2615 h 3108"/>
                  <a:gd name="T18" fmla="*/ 855 w 3750"/>
                  <a:gd name="T19" fmla="*/ 2222 h 3108"/>
                  <a:gd name="T20" fmla="*/ 2893 w 3750"/>
                  <a:gd name="T21" fmla="*/ 1677 h 3108"/>
                  <a:gd name="T22" fmla="*/ 2907 w 3750"/>
                  <a:gd name="T23" fmla="*/ 2069 h 3108"/>
                  <a:gd name="T24" fmla="*/ 3288 w 3750"/>
                  <a:gd name="T25" fmla="*/ 2029 h 3108"/>
                  <a:gd name="T26" fmla="*/ 2924 w 3750"/>
                  <a:gd name="T27" fmla="*/ 1665 h 3108"/>
                  <a:gd name="T28" fmla="*/ 460 w 3750"/>
                  <a:gd name="T29" fmla="*/ 2029 h 3108"/>
                  <a:gd name="T30" fmla="*/ 841 w 3750"/>
                  <a:gd name="T31" fmla="*/ 2069 h 3108"/>
                  <a:gd name="T32" fmla="*/ 855 w 3750"/>
                  <a:gd name="T33" fmla="*/ 1677 h 3108"/>
                  <a:gd name="T34" fmla="*/ 2076 w 3750"/>
                  <a:gd name="T35" fmla="*/ 1667 h 3108"/>
                  <a:gd name="T36" fmla="*/ 2090 w 3750"/>
                  <a:gd name="T37" fmla="*/ 2059 h 3108"/>
                  <a:gd name="T38" fmla="*/ 2471 w 3750"/>
                  <a:gd name="T39" fmla="*/ 2020 h 3108"/>
                  <a:gd name="T40" fmla="*/ 2107 w 3750"/>
                  <a:gd name="T41" fmla="*/ 1654 h 3108"/>
                  <a:gd name="T42" fmla="*/ 1332 w 3750"/>
                  <a:gd name="T43" fmla="*/ 2020 h 3108"/>
                  <a:gd name="T44" fmla="*/ 1713 w 3750"/>
                  <a:gd name="T45" fmla="*/ 2059 h 3108"/>
                  <a:gd name="T46" fmla="*/ 1726 w 3750"/>
                  <a:gd name="T47" fmla="*/ 1667 h 3108"/>
                  <a:gd name="T48" fmla="*/ 2076 w 3750"/>
                  <a:gd name="T49" fmla="*/ 1121 h 3108"/>
                  <a:gd name="T50" fmla="*/ 2090 w 3750"/>
                  <a:gd name="T51" fmla="*/ 1514 h 3108"/>
                  <a:gd name="T52" fmla="*/ 2471 w 3750"/>
                  <a:gd name="T53" fmla="*/ 1474 h 3108"/>
                  <a:gd name="T54" fmla="*/ 2107 w 3750"/>
                  <a:gd name="T55" fmla="*/ 1109 h 3108"/>
                  <a:gd name="T56" fmla="*/ 1332 w 3750"/>
                  <a:gd name="T57" fmla="*/ 1474 h 3108"/>
                  <a:gd name="T58" fmla="*/ 1713 w 3750"/>
                  <a:gd name="T59" fmla="*/ 1514 h 3108"/>
                  <a:gd name="T60" fmla="*/ 1726 w 3750"/>
                  <a:gd name="T61" fmla="*/ 1121 h 3108"/>
                  <a:gd name="T62" fmla="*/ 2893 w 3750"/>
                  <a:gd name="T63" fmla="*/ 1112 h 3108"/>
                  <a:gd name="T64" fmla="*/ 2907 w 3750"/>
                  <a:gd name="T65" fmla="*/ 1504 h 3108"/>
                  <a:gd name="T66" fmla="*/ 3288 w 3750"/>
                  <a:gd name="T67" fmla="*/ 1465 h 3108"/>
                  <a:gd name="T68" fmla="*/ 2924 w 3750"/>
                  <a:gd name="T69" fmla="*/ 1099 h 3108"/>
                  <a:gd name="T70" fmla="*/ 460 w 3750"/>
                  <a:gd name="T71" fmla="*/ 1465 h 3108"/>
                  <a:gd name="T72" fmla="*/ 841 w 3750"/>
                  <a:gd name="T73" fmla="*/ 1504 h 3108"/>
                  <a:gd name="T74" fmla="*/ 855 w 3750"/>
                  <a:gd name="T75" fmla="*/ 1112 h 3108"/>
                  <a:gd name="T76" fmla="*/ 2076 w 3750"/>
                  <a:gd name="T77" fmla="*/ 557 h 3108"/>
                  <a:gd name="T78" fmla="*/ 2090 w 3750"/>
                  <a:gd name="T79" fmla="*/ 949 h 3108"/>
                  <a:gd name="T80" fmla="*/ 2471 w 3750"/>
                  <a:gd name="T81" fmla="*/ 909 h 3108"/>
                  <a:gd name="T82" fmla="*/ 2107 w 3750"/>
                  <a:gd name="T83" fmla="*/ 544 h 3108"/>
                  <a:gd name="T84" fmla="*/ 1332 w 3750"/>
                  <a:gd name="T85" fmla="*/ 909 h 3108"/>
                  <a:gd name="T86" fmla="*/ 1713 w 3750"/>
                  <a:gd name="T87" fmla="*/ 949 h 3108"/>
                  <a:gd name="T88" fmla="*/ 1726 w 3750"/>
                  <a:gd name="T89" fmla="*/ 557 h 3108"/>
                  <a:gd name="T90" fmla="*/ 2787 w 3750"/>
                  <a:gd name="T91" fmla="*/ 2 h 3108"/>
                  <a:gd name="T92" fmla="*/ 2820 w 3750"/>
                  <a:gd name="T93" fmla="*/ 165 h 3108"/>
                  <a:gd name="T94" fmla="*/ 2761 w 3750"/>
                  <a:gd name="T95" fmla="*/ 204 h 3108"/>
                  <a:gd name="T96" fmla="*/ 2754 w 3750"/>
                  <a:gd name="T97" fmla="*/ 620 h 3108"/>
                  <a:gd name="T98" fmla="*/ 2779 w 3750"/>
                  <a:gd name="T99" fmla="*/ 645 h 3108"/>
                  <a:gd name="T100" fmla="*/ 3621 w 3750"/>
                  <a:gd name="T101" fmla="*/ 716 h 3108"/>
                  <a:gd name="T102" fmla="*/ 3629 w 3750"/>
                  <a:gd name="T103" fmla="*/ 2878 h 3108"/>
                  <a:gd name="T104" fmla="*/ 3728 w 3750"/>
                  <a:gd name="T105" fmla="*/ 2899 h 3108"/>
                  <a:gd name="T106" fmla="*/ 3739 w 3750"/>
                  <a:gd name="T107" fmla="*/ 3087 h 3108"/>
                  <a:gd name="T108" fmla="*/ 22 w 3750"/>
                  <a:gd name="T109" fmla="*/ 3098 h 3108"/>
                  <a:gd name="T110" fmla="*/ 10 w 3750"/>
                  <a:gd name="T111" fmla="*/ 2912 h 3108"/>
                  <a:gd name="T112" fmla="*/ 112 w 3750"/>
                  <a:gd name="T113" fmla="*/ 2887 h 3108"/>
                  <a:gd name="T114" fmla="*/ 137 w 3750"/>
                  <a:gd name="T115" fmla="*/ 693 h 3108"/>
                  <a:gd name="T116" fmla="*/ 1037 w 3750"/>
                  <a:gd name="T117" fmla="*/ 643 h 3108"/>
                  <a:gd name="T118" fmla="*/ 1048 w 3750"/>
                  <a:gd name="T119" fmla="*/ 610 h 3108"/>
                  <a:gd name="T120" fmla="*/ 1046 w 3750"/>
                  <a:gd name="T121" fmla="*/ 209 h 3108"/>
                  <a:gd name="T122" fmla="*/ 1002 w 3750"/>
                  <a:gd name="T123" fmla="*/ 193 h 3108"/>
                  <a:gd name="T124" fmla="*/ 989 w 3750"/>
                  <a:gd name="T125" fmla="*/ 21 h 3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50" h="3108">
                    <a:moveTo>
                      <a:pt x="1657" y="2302"/>
                    </a:moveTo>
                    <a:lnTo>
                      <a:pt x="1640" y="2305"/>
                    </a:lnTo>
                    <a:lnTo>
                      <a:pt x="1626" y="2315"/>
                    </a:lnTo>
                    <a:lnTo>
                      <a:pt x="1617" y="2328"/>
                    </a:lnTo>
                    <a:lnTo>
                      <a:pt x="1613" y="2345"/>
                    </a:lnTo>
                    <a:lnTo>
                      <a:pt x="1613" y="2844"/>
                    </a:lnTo>
                    <a:lnTo>
                      <a:pt x="1617" y="2860"/>
                    </a:lnTo>
                    <a:lnTo>
                      <a:pt x="1626" y="2874"/>
                    </a:lnTo>
                    <a:lnTo>
                      <a:pt x="1640" y="2883"/>
                    </a:lnTo>
                    <a:lnTo>
                      <a:pt x="1657" y="2887"/>
                    </a:lnTo>
                    <a:lnTo>
                      <a:pt x="2155" y="2887"/>
                    </a:lnTo>
                    <a:lnTo>
                      <a:pt x="2171" y="2883"/>
                    </a:lnTo>
                    <a:lnTo>
                      <a:pt x="2184" y="2874"/>
                    </a:lnTo>
                    <a:lnTo>
                      <a:pt x="2193" y="2860"/>
                    </a:lnTo>
                    <a:lnTo>
                      <a:pt x="2197" y="2844"/>
                    </a:lnTo>
                    <a:lnTo>
                      <a:pt x="2197" y="2345"/>
                    </a:lnTo>
                    <a:lnTo>
                      <a:pt x="2193" y="2328"/>
                    </a:lnTo>
                    <a:lnTo>
                      <a:pt x="2184" y="2315"/>
                    </a:lnTo>
                    <a:lnTo>
                      <a:pt x="2171" y="2305"/>
                    </a:lnTo>
                    <a:lnTo>
                      <a:pt x="2155" y="2302"/>
                    </a:lnTo>
                    <a:lnTo>
                      <a:pt x="1657" y="2302"/>
                    </a:lnTo>
                    <a:close/>
                    <a:moveTo>
                      <a:pt x="2924" y="2210"/>
                    </a:moveTo>
                    <a:lnTo>
                      <a:pt x="2907" y="2213"/>
                    </a:lnTo>
                    <a:lnTo>
                      <a:pt x="2893" y="2222"/>
                    </a:lnTo>
                    <a:lnTo>
                      <a:pt x="2884" y="2236"/>
                    </a:lnTo>
                    <a:lnTo>
                      <a:pt x="2880" y="2253"/>
                    </a:lnTo>
                    <a:lnTo>
                      <a:pt x="2880" y="2575"/>
                    </a:lnTo>
                    <a:lnTo>
                      <a:pt x="2884" y="2592"/>
                    </a:lnTo>
                    <a:lnTo>
                      <a:pt x="2893" y="2605"/>
                    </a:lnTo>
                    <a:lnTo>
                      <a:pt x="2907" y="2615"/>
                    </a:lnTo>
                    <a:lnTo>
                      <a:pt x="2924" y="2618"/>
                    </a:lnTo>
                    <a:lnTo>
                      <a:pt x="3245" y="2618"/>
                    </a:lnTo>
                    <a:lnTo>
                      <a:pt x="3262" y="2615"/>
                    </a:lnTo>
                    <a:lnTo>
                      <a:pt x="3276" y="2605"/>
                    </a:lnTo>
                    <a:lnTo>
                      <a:pt x="3285" y="2592"/>
                    </a:lnTo>
                    <a:lnTo>
                      <a:pt x="3288" y="2575"/>
                    </a:lnTo>
                    <a:lnTo>
                      <a:pt x="3288" y="2253"/>
                    </a:lnTo>
                    <a:lnTo>
                      <a:pt x="3285" y="2236"/>
                    </a:lnTo>
                    <a:lnTo>
                      <a:pt x="3276" y="2222"/>
                    </a:lnTo>
                    <a:lnTo>
                      <a:pt x="3262" y="2213"/>
                    </a:lnTo>
                    <a:lnTo>
                      <a:pt x="3245" y="2210"/>
                    </a:lnTo>
                    <a:lnTo>
                      <a:pt x="2924" y="2210"/>
                    </a:lnTo>
                    <a:close/>
                    <a:moveTo>
                      <a:pt x="502" y="2210"/>
                    </a:moveTo>
                    <a:lnTo>
                      <a:pt x="487" y="2213"/>
                    </a:lnTo>
                    <a:lnTo>
                      <a:pt x="473" y="2222"/>
                    </a:lnTo>
                    <a:lnTo>
                      <a:pt x="463" y="2236"/>
                    </a:lnTo>
                    <a:lnTo>
                      <a:pt x="460" y="2253"/>
                    </a:lnTo>
                    <a:lnTo>
                      <a:pt x="460" y="2575"/>
                    </a:lnTo>
                    <a:lnTo>
                      <a:pt x="463" y="2592"/>
                    </a:lnTo>
                    <a:lnTo>
                      <a:pt x="473" y="2605"/>
                    </a:lnTo>
                    <a:lnTo>
                      <a:pt x="487" y="2615"/>
                    </a:lnTo>
                    <a:lnTo>
                      <a:pt x="502" y="2618"/>
                    </a:lnTo>
                    <a:lnTo>
                      <a:pt x="824" y="2618"/>
                    </a:lnTo>
                    <a:lnTo>
                      <a:pt x="841" y="2615"/>
                    </a:lnTo>
                    <a:lnTo>
                      <a:pt x="855" y="2605"/>
                    </a:lnTo>
                    <a:lnTo>
                      <a:pt x="864" y="2592"/>
                    </a:lnTo>
                    <a:lnTo>
                      <a:pt x="867" y="2575"/>
                    </a:lnTo>
                    <a:lnTo>
                      <a:pt x="867" y="2253"/>
                    </a:lnTo>
                    <a:lnTo>
                      <a:pt x="864" y="2236"/>
                    </a:lnTo>
                    <a:lnTo>
                      <a:pt x="855" y="2222"/>
                    </a:lnTo>
                    <a:lnTo>
                      <a:pt x="841" y="2213"/>
                    </a:lnTo>
                    <a:lnTo>
                      <a:pt x="824" y="2210"/>
                    </a:lnTo>
                    <a:lnTo>
                      <a:pt x="502" y="2210"/>
                    </a:lnTo>
                    <a:close/>
                    <a:moveTo>
                      <a:pt x="2924" y="1665"/>
                    </a:moveTo>
                    <a:lnTo>
                      <a:pt x="2907" y="1668"/>
                    </a:lnTo>
                    <a:lnTo>
                      <a:pt x="2893" y="1677"/>
                    </a:lnTo>
                    <a:lnTo>
                      <a:pt x="2884" y="1691"/>
                    </a:lnTo>
                    <a:lnTo>
                      <a:pt x="2880" y="1707"/>
                    </a:lnTo>
                    <a:lnTo>
                      <a:pt x="2880" y="2029"/>
                    </a:lnTo>
                    <a:lnTo>
                      <a:pt x="2884" y="2046"/>
                    </a:lnTo>
                    <a:lnTo>
                      <a:pt x="2893" y="2060"/>
                    </a:lnTo>
                    <a:lnTo>
                      <a:pt x="2907" y="2069"/>
                    </a:lnTo>
                    <a:lnTo>
                      <a:pt x="2924" y="2072"/>
                    </a:lnTo>
                    <a:lnTo>
                      <a:pt x="3245" y="2072"/>
                    </a:lnTo>
                    <a:lnTo>
                      <a:pt x="3262" y="2069"/>
                    </a:lnTo>
                    <a:lnTo>
                      <a:pt x="3276" y="2060"/>
                    </a:lnTo>
                    <a:lnTo>
                      <a:pt x="3285" y="2046"/>
                    </a:lnTo>
                    <a:lnTo>
                      <a:pt x="3288" y="2029"/>
                    </a:lnTo>
                    <a:lnTo>
                      <a:pt x="3288" y="1707"/>
                    </a:lnTo>
                    <a:lnTo>
                      <a:pt x="3285" y="1691"/>
                    </a:lnTo>
                    <a:lnTo>
                      <a:pt x="3276" y="1677"/>
                    </a:lnTo>
                    <a:lnTo>
                      <a:pt x="3262" y="1668"/>
                    </a:lnTo>
                    <a:lnTo>
                      <a:pt x="3245" y="1665"/>
                    </a:lnTo>
                    <a:lnTo>
                      <a:pt x="2924" y="1665"/>
                    </a:lnTo>
                    <a:close/>
                    <a:moveTo>
                      <a:pt x="502" y="1665"/>
                    </a:moveTo>
                    <a:lnTo>
                      <a:pt x="487" y="1668"/>
                    </a:lnTo>
                    <a:lnTo>
                      <a:pt x="473" y="1677"/>
                    </a:lnTo>
                    <a:lnTo>
                      <a:pt x="463" y="1691"/>
                    </a:lnTo>
                    <a:lnTo>
                      <a:pt x="460" y="1707"/>
                    </a:lnTo>
                    <a:lnTo>
                      <a:pt x="460" y="2029"/>
                    </a:lnTo>
                    <a:lnTo>
                      <a:pt x="463" y="2046"/>
                    </a:lnTo>
                    <a:lnTo>
                      <a:pt x="473" y="2060"/>
                    </a:lnTo>
                    <a:lnTo>
                      <a:pt x="487" y="2069"/>
                    </a:lnTo>
                    <a:lnTo>
                      <a:pt x="502" y="2072"/>
                    </a:lnTo>
                    <a:lnTo>
                      <a:pt x="824" y="2072"/>
                    </a:lnTo>
                    <a:lnTo>
                      <a:pt x="841" y="2069"/>
                    </a:lnTo>
                    <a:lnTo>
                      <a:pt x="855" y="2060"/>
                    </a:lnTo>
                    <a:lnTo>
                      <a:pt x="864" y="2046"/>
                    </a:lnTo>
                    <a:lnTo>
                      <a:pt x="867" y="2029"/>
                    </a:lnTo>
                    <a:lnTo>
                      <a:pt x="867" y="1707"/>
                    </a:lnTo>
                    <a:lnTo>
                      <a:pt x="864" y="1691"/>
                    </a:lnTo>
                    <a:lnTo>
                      <a:pt x="855" y="1677"/>
                    </a:lnTo>
                    <a:lnTo>
                      <a:pt x="841" y="1668"/>
                    </a:lnTo>
                    <a:lnTo>
                      <a:pt x="824" y="1665"/>
                    </a:lnTo>
                    <a:lnTo>
                      <a:pt x="502" y="1665"/>
                    </a:lnTo>
                    <a:close/>
                    <a:moveTo>
                      <a:pt x="2107" y="1654"/>
                    </a:moveTo>
                    <a:lnTo>
                      <a:pt x="2090" y="1658"/>
                    </a:lnTo>
                    <a:lnTo>
                      <a:pt x="2076" y="1667"/>
                    </a:lnTo>
                    <a:lnTo>
                      <a:pt x="2067" y="1681"/>
                    </a:lnTo>
                    <a:lnTo>
                      <a:pt x="2063" y="1698"/>
                    </a:lnTo>
                    <a:lnTo>
                      <a:pt x="2063" y="2020"/>
                    </a:lnTo>
                    <a:lnTo>
                      <a:pt x="2067" y="2036"/>
                    </a:lnTo>
                    <a:lnTo>
                      <a:pt x="2076" y="2050"/>
                    </a:lnTo>
                    <a:lnTo>
                      <a:pt x="2090" y="2059"/>
                    </a:lnTo>
                    <a:lnTo>
                      <a:pt x="2107" y="2062"/>
                    </a:lnTo>
                    <a:lnTo>
                      <a:pt x="2428" y="2062"/>
                    </a:lnTo>
                    <a:lnTo>
                      <a:pt x="2445" y="2059"/>
                    </a:lnTo>
                    <a:lnTo>
                      <a:pt x="2458" y="2050"/>
                    </a:lnTo>
                    <a:lnTo>
                      <a:pt x="2468" y="2036"/>
                    </a:lnTo>
                    <a:lnTo>
                      <a:pt x="2471" y="2020"/>
                    </a:lnTo>
                    <a:lnTo>
                      <a:pt x="2471" y="1698"/>
                    </a:lnTo>
                    <a:lnTo>
                      <a:pt x="2468" y="1681"/>
                    </a:lnTo>
                    <a:lnTo>
                      <a:pt x="2458" y="1667"/>
                    </a:lnTo>
                    <a:lnTo>
                      <a:pt x="2445" y="1658"/>
                    </a:lnTo>
                    <a:lnTo>
                      <a:pt x="2428" y="1654"/>
                    </a:lnTo>
                    <a:lnTo>
                      <a:pt x="2107" y="1654"/>
                    </a:lnTo>
                    <a:close/>
                    <a:moveTo>
                      <a:pt x="1375" y="1654"/>
                    </a:moveTo>
                    <a:lnTo>
                      <a:pt x="1358" y="1658"/>
                    </a:lnTo>
                    <a:lnTo>
                      <a:pt x="1344" y="1667"/>
                    </a:lnTo>
                    <a:lnTo>
                      <a:pt x="1335" y="1681"/>
                    </a:lnTo>
                    <a:lnTo>
                      <a:pt x="1332" y="1698"/>
                    </a:lnTo>
                    <a:lnTo>
                      <a:pt x="1332" y="2020"/>
                    </a:lnTo>
                    <a:lnTo>
                      <a:pt x="1335" y="2036"/>
                    </a:lnTo>
                    <a:lnTo>
                      <a:pt x="1344" y="2050"/>
                    </a:lnTo>
                    <a:lnTo>
                      <a:pt x="1358" y="2059"/>
                    </a:lnTo>
                    <a:lnTo>
                      <a:pt x="1375" y="2062"/>
                    </a:lnTo>
                    <a:lnTo>
                      <a:pt x="1697" y="2062"/>
                    </a:lnTo>
                    <a:lnTo>
                      <a:pt x="1713" y="2059"/>
                    </a:lnTo>
                    <a:lnTo>
                      <a:pt x="1726" y="2050"/>
                    </a:lnTo>
                    <a:lnTo>
                      <a:pt x="1736" y="2036"/>
                    </a:lnTo>
                    <a:lnTo>
                      <a:pt x="1740" y="2020"/>
                    </a:lnTo>
                    <a:lnTo>
                      <a:pt x="1740" y="1698"/>
                    </a:lnTo>
                    <a:lnTo>
                      <a:pt x="1736" y="1681"/>
                    </a:lnTo>
                    <a:lnTo>
                      <a:pt x="1726" y="1667"/>
                    </a:lnTo>
                    <a:lnTo>
                      <a:pt x="1713" y="1658"/>
                    </a:lnTo>
                    <a:lnTo>
                      <a:pt x="1697" y="1654"/>
                    </a:lnTo>
                    <a:lnTo>
                      <a:pt x="1375" y="1654"/>
                    </a:lnTo>
                    <a:close/>
                    <a:moveTo>
                      <a:pt x="2107" y="1109"/>
                    </a:moveTo>
                    <a:lnTo>
                      <a:pt x="2090" y="1112"/>
                    </a:lnTo>
                    <a:lnTo>
                      <a:pt x="2076" y="1121"/>
                    </a:lnTo>
                    <a:lnTo>
                      <a:pt x="2067" y="1135"/>
                    </a:lnTo>
                    <a:lnTo>
                      <a:pt x="2063" y="1152"/>
                    </a:lnTo>
                    <a:lnTo>
                      <a:pt x="2063" y="1474"/>
                    </a:lnTo>
                    <a:lnTo>
                      <a:pt x="2067" y="1491"/>
                    </a:lnTo>
                    <a:lnTo>
                      <a:pt x="2076" y="1505"/>
                    </a:lnTo>
                    <a:lnTo>
                      <a:pt x="2090" y="1514"/>
                    </a:lnTo>
                    <a:lnTo>
                      <a:pt x="2107" y="1517"/>
                    </a:lnTo>
                    <a:lnTo>
                      <a:pt x="2428" y="1517"/>
                    </a:lnTo>
                    <a:lnTo>
                      <a:pt x="2445" y="1514"/>
                    </a:lnTo>
                    <a:lnTo>
                      <a:pt x="2458" y="1505"/>
                    </a:lnTo>
                    <a:lnTo>
                      <a:pt x="2468" y="1491"/>
                    </a:lnTo>
                    <a:lnTo>
                      <a:pt x="2471" y="1474"/>
                    </a:lnTo>
                    <a:lnTo>
                      <a:pt x="2471" y="1152"/>
                    </a:lnTo>
                    <a:lnTo>
                      <a:pt x="2468" y="1135"/>
                    </a:lnTo>
                    <a:lnTo>
                      <a:pt x="2458" y="1121"/>
                    </a:lnTo>
                    <a:lnTo>
                      <a:pt x="2445" y="1112"/>
                    </a:lnTo>
                    <a:lnTo>
                      <a:pt x="2428" y="1109"/>
                    </a:lnTo>
                    <a:lnTo>
                      <a:pt x="2107" y="1109"/>
                    </a:lnTo>
                    <a:close/>
                    <a:moveTo>
                      <a:pt x="1375" y="1109"/>
                    </a:moveTo>
                    <a:lnTo>
                      <a:pt x="1358" y="1112"/>
                    </a:lnTo>
                    <a:lnTo>
                      <a:pt x="1344" y="1121"/>
                    </a:lnTo>
                    <a:lnTo>
                      <a:pt x="1335" y="1135"/>
                    </a:lnTo>
                    <a:lnTo>
                      <a:pt x="1332" y="1152"/>
                    </a:lnTo>
                    <a:lnTo>
                      <a:pt x="1332" y="1474"/>
                    </a:lnTo>
                    <a:lnTo>
                      <a:pt x="1335" y="1491"/>
                    </a:lnTo>
                    <a:lnTo>
                      <a:pt x="1344" y="1505"/>
                    </a:lnTo>
                    <a:lnTo>
                      <a:pt x="1358" y="1514"/>
                    </a:lnTo>
                    <a:lnTo>
                      <a:pt x="1375" y="1517"/>
                    </a:lnTo>
                    <a:lnTo>
                      <a:pt x="1697" y="1517"/>
                    </a:lnTo>
                    <a:lnTo>
                      <a:pt x="1713" y="1514"/>
                    </a:lnTo>
                    <a:lnTo>
                      <a:pt x="1726" y="1505"/>
                    </a:lnTo>
                    <a:lnTo>
                      <a:pt x="1736" y="1491"/>
                    </a:lnTo>
                    <a:lnTo>
                      <a:pt x="1740" y="1474"/>
                    </a:lnTo>
                    <a:lnTo>
                      <a:pt x="1740" y="1152"/>
                    </a:lnTo>
                    <a:lnTo>
                      <a:pt x="1736" y="1135"/>
                    </a:lnTo>
                    <a:lnTo>
                      <a:pt x="1726" y="1121"/>
                    </a:lnTo>
                    <a:lnTo>
                      <a:pt x="1713" y="1112"/>
                    </a:lnTo>
                    <a:lnTo>
                      <a:pt x="1697" y="1109"/>
                    </a:lnTo>
                    <a:lnTo>
                      <a:pt x="1375" y="1109"/>
                    </a:lnTo>
                    <a:close/>
                    <a:moveTo>
                      <a:pt x="2924" y="1099"/>
                    </a:moveTo>
                    <a:lnTo>
                      <a:pt x="2907" y="1103"/>
                    </a:lnTo>
                    <a:lnTo>
                      <a:pt x="2893" y="1112"/>
                    </a:lnTo>
                    <a:lnTo>
                      <a:pt x="2884" y="1126"/>
                    </a:lnTo>
                    <a:lnTo>
                      <a:pt x="2880" y="1142"/>
                    </a:lnTo>
                    <a:lnTo>
                      <a:pt x="2880" y="1465"/>
                    </a:lnTo>
                    <a:lnTo>
                      <a:pt x="2884" y="1481"/>
                    </a:lnTo>
                    <a:lnTo>
                      <a:pt x="2893" y="1495"/>
                    </a:lnTo>
                    <a:lnTo>
                      <a:pt x="2907" y="1504"/>
                    </a:lnTo>
                    <a:lnTo>
                      <a:pt x="2924" y="1507"/>
                    </a:lnTo>
                    <a:lnTo>
                      <a:pt x="3245" y="1507"/>
                    </a:lnTo>
                    <a:lnTo>
                      <a:pt x="3262" y="1504"/>
                    </a:lnTo>
                    <a:lnTo>
                      <a:pt x="3276" y="1495"/>
                    </a:lnTo>
                    <a:lnTo>
                      <a:pt x="3285" y="1481"/>
                    </a:lnTo>
                    <a:lnTo>
                      <a:pt x="3288" y="1465"/>
                    </a:lnTo>
                    <a:lnTo>
                      <a:pt x="3288" y="1142"/>
                    </a:lnTo>
                    <a:lnTo>
                      <a:pt x="3285" y="1126"/>
                    </a:lnTo>
                    <a:lnTo>
                      <a:pt x="3276" y="1112"/>
                    </a:lnTo>
                    <a:lnTo>
                      <a:pt x="3262" y="1103"/>
                    </a:lnTo>
                    <a:lnTo>
                      <a:pt x="3245" y="1099"/>
                    </a:lnTo>
                    <a:lnTo>
                      <a:pt x="2924" y="1099"/>
                    </a:lnTo>
                    <a:close/>
                    <a:moveTo>
                      <a:pt x="502" y="1099"/>
                    </a:moveTo>
                    <a:lnTo>
                      <a:pt x="487" y="1103"/>
                    </a:lnTo>
                    <a:lnTo>
                      <a:pt x="473" y="1112"/>
                    </a:lnTo>
                    <a:lnTo>
                      <a:pt x="463" y="1126"/>
                    </a:lnTo>
                    <a:lnTo>
                      <a:pt x="460" y="1142"/>
                    </a:lnTo>
                    <a:lnTo>
                      <a:pt x="460" y="1465"/>
                    </a:lnTo>
                    <a:lnTo>
                      <a:pt x="463" y="1481"/>
                    </a:lnTo>
                    <a:lnTo>
                      <a:pt x="473" y="1495"/>
                    </a:lnTo>
                    <a:lnTo>
                      <a:pt x="487" y="1504"/>
                    </a:lnTo>
                    <a:lnTo>
                      <a:pt x="502" y="1507"/>
                    </a:lnTo>
                    <a:lnTo>
                      <a:pt x="824" y="1507"/>
                    </a:lnTo>
                    <a:lnTo>
                      <a:pt x="841" y="1504"/>
                    </a:lnTo>
                    <a:lnTo>
                      <a:pt x="855" y="1495"/>
                    </a:lnTo>
                    <a:lnTo>
                      <a:pt x="864" y="1481"/>
                    </a:lnTo>
                    <a:lnTo>
                      <a:pt x="867" y="1465"/>
                    </a:lnTo>
                    <a:lnTo>
                      <a:pt x="867" y="1142"/>
                    </a:lnTo>
                    <a:lnTo>
                      <a:pt x="864" y="1126"/>
                    </a:lnTo>
                    <a:lnTo>
                      <a:pt x="855" y="1112"/>
                    </a:lnTo>
                    <a:lnTo>
                      <a:pt x="841" y="1103"/>
                    </a:lnTo>
                    <a:lnTo>
                      <a:pt x="824" y="1099"/>
                    </a:lnTo>
                    <a:lnTo>
                      <a:pt x="502" y="1099"/>
                    </a:lnTo>
                    <a:close/>
                    <a:moveTo>
                      <a:pt x="2107" y="544"/>
                    </a:moveTo>
                    <a:lnTo>
                      <a:pt x="2090" y="548"/>
                    </a:lnTo>
                    <a:lnTo>
                      <a:pt x="2076" y="557"/>
                    </a:lnTo>
                    <a:lnTo>
                      <a:pt x="2067" y="571"/>
                    </a:lnTo>
                    <a:lnTo>
                      <a:pt x="2063" y="587"/>
                    </a:lnTo>
                    <a:lnTo>
                      <a:pt x="2063" y="909"/>
                    </a:lnTo>
                    <a:lnTo>
                      <a:pt x="2067" y="926"/>
                    </a:lnTo>
                    <a:lnTo>
                      <a:pt x="2076" y="940"/>
                    </a:lnTo>
                    <a:lnTo>
                      <a:pt x="2090" y="949"/>
                    </a:lnTo>
                    <a:lnTo>
                      <a:pt x="2107" y="952"/>
                    </a:lnTo>
                    <a:lnTo>
                      <a:pt x="2428" y="952"/>
                    </a:lnTo>
                    <a:lnTo>
                      <a:pt x="2445" y="949"/>
                    </a:lnTo>
                    <a:lnTo>
                      <a:pt x="2458" y="940"/>
                    </a:lnTo>
                    <a:lnTo>
                      <a:pt x="2468" y="926"/>
                    </a:lnTo>
                    <a:lnTo>
                      <a:pt x="2471" y="909"/>
                    </a:lnTo>
                    <a:lnTo>
                      <a:pt x="2471" y="587"/>
                    </a:lnTo>
                    <a:lnTo>
                      <a:pt x="2468" y="571"/>
                    </a:lnTo>
                    <a:lnTo>
                      <a:pt x="2458" y="557"/>
                    </a:lnTo>
                    <a:lnTo>
                      <a:pt x="2445" y="548"/>
                    </a:lnTo>
                    <a:lnTo>
                      <a:pt x="2428" y="544"/>
                    </a:lnTo>
                    <a:lnTo>
                      <a:pt x="2107" y="544"/>
                    </a:lnTo>
                    <a:close/>
                    <a:moveTo>
                      <a:pt x="1375" y="544"/>
                    </a:moveTo>
                    <a:lnTo>
                      <a:pt x="1358" y="548"/>
                    </a:lnTo>
                    <a:lnTo>
                      <a:pt x="1344" y="557"/>
                    </a:lnTo>
                    <a:lnTo>
                      <a:pt x="1335" y="571"/>
                    </a:lnTo>
                    <a:lnTo>
                      <a:pt x="1332" y="587"/>
                    </a:lnTo>
                    <a:lnTo>
                      <a:pt x="1332" y="909"/>
                    </a:lnTo>
                    <a:lnTo>
                      <a:pt x="1335" y="926"/>
                    </a:lnTo>
                    <a:lnTo>
                      <a:pt x="1344" y="940"/>
                    </a:lnTo>
                    <a:lnTo>
                      <a:pt x="1358" y="949"/>
                    </a:lnTo>
                    <a:lnTo>
                      <a:pt x="1375" y="952"/>
                    </a:lnTo>
                    <a:lnTo>
                      <a:pt x="1697" y="952"/>
                    </a:lnTo>
                    <a:lnTo>
                      <a:pt x="1713" y="949"/>
                    </a:lnTo>
                    <a:lnTo>
                      <a:pt x="1726" y="940"/>
                    </a:lnTo>
                    <a:lnTo>
                      <a:pt x="1736" y="926"/>
                    </a:lnTo>
                    <a:lnTo>
                      <a:pt x="1740" y="909"/>
                    </a:lnTo>
                    <a:lnTo>
                      <a:pt x="1740" y="587"/>
                    </a:lnTo>
                    <a:lnTo>
                      <a:pt x="1736" y="571"/>
                    </a:lnTo>
                    <a:lnTo>
                      <a:pt x="1726" y="557"/>
                    </a:lnTo>
                    <a:lnTo>
                      <a:pt x="1713" y="548"/>
                    </a:lnTo>
                    <a:lnTo>
                      <a:pt x="1697" y="544"/>
                    </a:lnTo>
                    <a:lnTo>
                      <a:pt x="1375" y="544"/>
                    </a:lnTo>
                    <a:close/>
                    <a:moveTo>
                      <a:pt x="1032" y="0"/>
                    </a:moveTo>
                    <a:lnTo>
                      <a:pt x="2770" y="0"/>
                    </a:lnTo>
                    <a:lnTo>
                      <a:pt x="2787" y="2"/>
                    </a:lnTo>
                    <a:lnTo>
                      <a:pt x="2801" y="10"/>
                    </a:lnTo>
                    <a:lnTo>
                      <a:pt x="2813" y="21"/>
                    </a:lnTo>
                    <a:lnTo>
                      <a:pt x="2820" y="36"/>
                    </a:lnTo>
                    <a:lnTo>
                      <a:pt x="2823" y="53"/>
                    </a:lnTo>
                    <a:lnTo>
                      <a:pt x="2823" y="149"/>
                    </a:lnTo>
                    <a:lnTo>
                      <a:pt x="2820" y="165"/>
                    </a:lnTo>
                    <a:lnTo>
                      <a:pt x="2813" y="180"/>
                    </a:lnTo>
                    <a:lnTo>
                      <a:pt x="2801" y="193"/>
                    </a:lnTo>
                    <a:lnTo>
                      <a:pt x="2787" y="200"/>
                    </a:lnTo>
                    <a:lnTo>
                      <a:pt x="2770" y="203"/>
                    </a:lnTo>
                    <a:lnTo>
                      <a:pt x="2764" y="203"/>
                    </a:lnTo>
                    <a:lnTo>
                      <a:pt x="2761" y="204"/>
                    </a:lnTo>
                    <a:lnTo>
                      <a:pt x="2757" y="204"/>
                    </a:lnTo>
                    <a:lnTo>
                      <a:pt x="2756" y="206"/>
                    </a:lnTo>
                    <a:lnTo>
                      <a:pt x="2755" y="208"/>
                    </a:lnTo>
                    <a:lnTo>
                      <a:pt x="2754" y="210"/>
                    </a:lnTo>
                    <a:lnTo>
                      <a:pt x="2754" y="211"/>
                    </a:lnTo>
                    <a:lnTo>
                      <a:pt x="2754" y="620"/>
                    </a:lnTo>
                    <a:lnTo>
                      <a:pt x="2754" y="621"/>
                    </a:lnTo>
                    <a:lnTo>
                      <a:pt x="2754" y="626"/>
                    </a:lnTo>
                    <a:lnTo>
                      <a:pt x="2756" y="632"/>
                    </a:lnTo>
                    <a:lnTo>
                      <a:pt x="2761" y="638"/>
                    </a:lnTo>
                    <a:lnTo>
                      <a:pt x="2768" y="643"/>
                    </a:lnTo>
                    <a:lnTo>
                      <a:pt x="2779" y="645"/>
                    </a:lnTo>
                    <a:lnTo>
                      <a:pt x="3528" y="645"/>
                    </a:lnTo>
                    <a:lnTo>
                      <a:pt x="3553" y="648"/>
                    </a:lnTo>
                    <a:lnTo>
                      <a:pt x="3575" y="659"/>
                    </a:lnTo>
                    <a:lnTo>
                      <a:pt x="3596" y="673"/>
                    </a:lnTo>
                    <a:lnTo>
                      <a:pt x="3611" y="693"/>
                    </a:lnTo>
                    <a:lnTo>
                      <a:pt x="3621" y="716"/>
                    </a:lnTo>
                    <a:lnTo>
                      <a:pt x="3624" y="742"/>
                    </a:lnTo>
                    <a:lnTo>
                      <a:pt x="3624" y="2859"/>
                    </a:lnTo>
                    <a:lnTo>
                      <a:pt x="3624" y="2860"/>
                    </a:lnTo>
                    <a:lnTo>
                      <a:pt x="3624" y="2865"/>
                    </a:lnTo>
                    <a:lnTo>
                      <a:pt x="3626" y="2871"/>
                    </a:lnTo>
                    <a:lnTo>
                      <a:pt x="3629" y="2878"/>
                    </a:lnTo>
                    <a:lnTo>
                      <a:pt x="3634" y="2883"/>
                    </a:lnTo>
                    <a:lnTo>
                      <a:pt x="3640" y="2888"/>
                    </a:lnTo>
                    <a:lnTo>
                      <a:pt x="3649" y="2889"/>
                    </a:lnTo>
                    <a:lnTo>
                      <a:pt x="3696" y="2889"/>
                    </a:lnTo>
                    <a:lnTo>
                      <a:pt x="3713" y="2892"/>
                    </a:lnTo>
                    <a:lnTo>
                      <a:pt x="3728" y="2899"/>
                    </a:lnTo>
                    <a:lnTo>
                      <a:pt x="3739" y="2912"/>
                    </a:lnTo>
                    <a:lnTo>
                      <a:pt x="3747" y="2926"/>
                    </a:lnTo>
                    <a:lnTo>
                      <a:pt x="3750" y="2943"/>
                    </a:lnTo>
                    <a:lnTo>
                      <a:pt x="3750" y="3055"/>
                    </a:lnTo>
                    <a:lnTo>
                      <a:pt x="3747" y="3072"/>
                    </a:lnTo>
                    <a:lnTo>
                      <a:pt x="3739" y="3087"/>
                    </a:lnTo>
                    <a:lnTo>
                      <a:pt x="3728" y="3098"/>
                    </a:lnTo>
                    <a:lnTo>
                      <a:pt x="3713" y="3106"/>
                    </a:lnTo>
                    <a:lnTo>
                      <a:pt x="3696" y="3108"/>
                    </a:lnTo>
                    <a:lnTo>
                      <a:pt x="54" y="3108"/>
                    </a:lnTo>
                    <a:lnTo>
                      <a:pt x="36" y="3106"/>
                    </a:lnTo>
                    <a:lnTo>
                      <a:pt x="22" y="3098"/>
                    </a:lnTo>
                    <a:lnTo>
                      <a:pt x="10" y="3087"/>
                    </a:lnTo>
                    <a:lnTo>
                      <a:pt x="2" y="3072"/>
                    </a:lnTo>
                    <a:lnTo>
                      <a:pt x="0" y="3055"/>
                    </a:lnTo>
                    <a:lnTo>
                      <a:pt x="0" y="2943"/>
                    </a:lnTo>
                    <a:lnTo>
                      <a:pt x="2" y="2926"/>
                    </a:lnTo>
                    <a:lnTo>
                      <a:pt x="10" y="2912"/>
                    </a:lnTo>
                    <a:lnTo>
                      <a:pt x="22" y="2899"/>
                    </a:lnTo>
                    <a:lnTo>
                      <a:pt x="36" y="2892"/>
                    </a:lnTo>
                    <a:lnTo>
                      <a:pt x="54" y="2889"/>
                    </a:lnTo>
                    <a:lnTo>
                      <a:pt x="91" y="2889"/>
                    </a:lnTo>
                    <a:lnTo>
                      <a:pt x="103" y="2889"/>
                    </a:lnTo>
                    <a:lnTo>
                      <a:pt x="112" y="2887"/>
                    </a:lnTo>
                    <a:lnTo>
                      <a:pt x="118" y="2882"/>
                    </a:lnTo>
                    <a:lnTo>
                      <a:pt x="122" y="2876"/>
                    </a:lnTo>
                    <a:lnTo>
                      <a:pt x="124" y="2866"/>
                    </a:lnTo>
                    <a:lnTo>
                      <a:pt x="124" y="742"/>
                    </a:lnTo>
                    <a:lnTo>
                      <a:pt x="128" y="716"/>
                    </a:lnTo>
                    <a:lnTo>
                      <a:pt x="137" y="693"/>
                    </a:lnTo>
                    <a:lnTo>
                      <a:pt x="152" y="673"/>
                    </a:lnTo>
                    <a:lnTo>
                      <a:pt x="172" y="659"/>
                    </a:lnTo>
                    <a:lnTo>
                      <a:pt x="195" y="648"/>
                    </a:lnTo>
                    <a:lnTo>
                      <a:pt x="220" y="645"/>
                    </a:lnTo>
                    <a:lnTo>
                      <a:pt x="1028" y="645"/>
                    </a:lnTo>
                    <a:lnTo>
                      <a:pt x="1037" y="643"/>
                    </a:lnTo>
                    <a:lnTo>
                      <a:pt x="1043" y="638"/>
                    </a:lnTo>
                    <a:lnTo>
                      <a:pt x="1046" y="631"/>
                    </a:lnTo>
                    <a:lnTo>
                      <a:pt x="1047" y="623"/>
                    </a:lnTo>
                    <a:lnTo>
                      <a:pt x="1048" y="616"/>
                    </a:lnTo>
                    <a:lnTo>
                      <a:pt x="1048" y="612"/>
                    </a:lnTo>
                    <a:lnTo>
                      <a:pt x="1048" y="610"/>
                    </a:lnTo>
                    <a:lnTo>
                      <a:pt x="1048" y="218"/>
                    </a:lnTo>
                    <a:lnTo>
                      <a:pt x="1048" y="217"/>
                    </a:lnTo>
                    <a:lnTo>
                      <a:pt x="1048" y="216"/>
                    </a:lnTo>
                    <a:lnTo>
                      <a:pt x="1048" y="213"/>
                    </a:lnTo>
                    <a:lnTo>
                      <a:pt x="1047" y="211"/>
                    </a:lnTo>
                    <a:lnTo>
                      <a:pt x="1046" y="209"/>
                    </a:lnTo>
                    <a:lnTo>
                      <a:pt x="1044" y="206"/>
                    </a:lnTo>
                    <a:lnTo>
                      <a:pt x="1041" y="204"/>
                    </a:lnTo>
                    <a:lnTo>
                      <a:pt x="1037" y="203"/>
                    </a:lnTo>
                    <a:lnTo>
                      <a:pt x="1032" y="203"/>
                    </a:lnTo>
                    <a:lnTo>
                      <a:pt x="1015" y="200"/>
                    </a:lnTo>
                    <a:lnTo>
                      <a:pt x="1002" y="193"/>
                    </a:lnTo>
                    <a:lnTo>
                      <a:pt x="989" y="180"/>
                    </a:lnTo>
                    <a:lnTo>
                      <a:pt x="982" y="165"/>
                    </a:lnTo>
                    <a:lnTo>
                      <a:pt x="979" y="149"/>
                    </a:lnTo>
                    <a:lnTo>
                      <a:pt x="979" y="53"/>
                    </a:lnTo>
                    <a:lnTo>
                      <a:pt x="982" y="36"/>
                    </a:lnTo>
                    <a:lnTo>
                      <a:pt x="989" y="21"/>
                    </a:lnTo>
                    <a:lnTo>
                      <a:pt x="1002" y="10"/>
                    </a:lnTo>
                    <a:lnTo>
                      <a:pt x="1015" y="2"/>
                    </a:lnTo>
                    <a:lnTo>
                      <a:pt x="1032" y="0"/>
                    </a:lnTo>
                    <a:close/>
                  </a:path>
                </a:pathLst>
              </a:custGeom>
              <a:solidFill>
                <a:srgbClr val="02467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80" name="Rectangle 479">
                <a:extLst>
                  <a:ext uri="{FF2B5EF4-FFF2-40B4-BE49-F238E27FC236}">
                    <a16:creationId xmlns:a16="http://schemas.microsoft.com/office/drawing/2014/main" id="{73AAE4C7-33C6-4AB1-9DF8-299F37B4044C}"/>
                  </a:ext>
                </a:extLst>
              </p:cNvPr>
              <p:cNvSpPr/>
              <p:nvPr/>
            </p:nvSpPr>
            <p:spPr>
              <a:xfrm>
                <a:off x="6978998" y="5520871"/>
                <a:ext cx="2628000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13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Nairobi, Kenya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| East Africa Office</a:t>
                </a:r>
              </a:p>
            </p:txBody>
          </p:sp>
          <p:sp>
            <p:nvSpPr>
              <p:cNvPr id="481" name="Oval 480">
                <a:extLst>
                  <a:ext uri="{FF2B5EF4-FFF2-40B4-BE49-F238E27FC236}">
                    <a16:creationId xmlns:a16="http://schemas.microsoft.com/office/drawing/2014/main" id="{5128CF7A-1BE5-4647-B45F-9A94415D1A0B}"/>
                  </a:ext>
                </a:extLst>
              </p:cNvPr>
              <p:cNvSpPr/>
              <p:nvPr/>
            </p:nvSpPr>
            <p:spPr>
              <a:xfrm>
                <a:off x="5901863" y="5644136"/>
                <a:ext cx="108000" cy="108000"/>
              </a:xfrm>
              <a:prstGeom prst="ellipse">
                <a:avLst/>
              </a:prstGeom>
              <a:solidFill>
                <a:srgbClr val="02467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3A4C77C-E38A-4F3B-A99D-1ED6217C3CF1}"/>
                </a:ext>
              </a:extLst>
            </p:cNvPr>
            <p:cNvGrpSpPr/>
            <p:nvPr/>
          </p:nvGrpSpPr>
          <p:grpSpPr>
            <a:xfrm>
              <a:off x="6324784" y="4927831"/>
              <a:ext cx="3806960" cy="589854"/>
              <a:chOff x="5898901" y="5672845"/>
              <a:chExt cx="3619916" cy="565232"/>
            </a:xfrm>
          </p:grpSpPr>
          <p:grpSp>
            <p:nvGrpSpPr>
              <p:cNvPr id="483" name="Group 482">
                <a:extLst>
                  <a:ext uri="{FF2B5EF4-FFF2-40B4-BE49-F238E27FC236}">
                    <a16:creationId xmlns:a16="http://schemas.microsoft.com/office/drawing/2014/main" id="{0FF47B3C-78FB-4971-B2B1-F984ACD1AEE8}"/>
                  </a:ext>
                </a:extLst>
              </p:cNvPr>
              <p:cNvGrpSpPr/>
              <p:nvPr/>
            </p:nvGrpSpPr>
            <p:grpSpPr>
              <a:xfrm>
                <a:off x="5898901" y="5672845"/>
                <a:ext cx="3619916" cy="481830"/>
                <a:chOff x="5901863" y="5644136"/>
                <a:chExt cx="3619916" cy="481830"/>
              </a:xfrm>
            </p:grpSpPr>
            <p:sp>
              <p:nvSpPr>
                <p:cNvPr id="485" name="Rectangle 484">
                  <a:extLst>
                    <a:ext uri="{FF2B5EF4-FFF2-40B4-BE49-F238E27FC236}">
                      <a16:creationId xmlns:a16="http://schemas.microsoft.com/office/drawing/2014/main" id="{087D8889-EBD3-45F0-B1E7-979A98CFB733}"/>
                    </a:ext>
                  </a:extLst>
                </p:cNvPr>
                <p:cNvSpPr/>
                <p:nvPr/>
              </p:nvSpPr>
              <p:spPr>
                <a:xfrm>
                  <a:off x="6893779" y="5912110"/>
                  <a:ext cx="2628000" cy="21385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ZA" sz="11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Boshof | </a:t>
                  </a:r>
                  <a:r>
                    <a:rPr kumimoji="0" lang="en-ZA" sz="113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66 </a:t>
                  </a:r>
                  <a:r>
                    <a:rPr kumimoji="0" lang="en-ZA" sz="1133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MWp</a:t>
                  </a:r>
                  <a:endPara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98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486" name="Oval 485">
                  <a:extLst>
                    <a:ext uri="{FF2B5EF4-FFF2-40B4-BE49-F238E27FC236}">
                      <a16:creationId xmlns:a16="http://schemas.microsoft.com/office/drawing/2014/main" id="{9A44067A-CA1C-40A2-87EC-4E530A42EBD2}"/>
                    </a:ext>
                  </a:extLst>
                </p:cNvPr>
                <p:cNvSpPr/>
                <p:nvPr/>
              </p:nvSpPr>
              <p:spPr>
                <a:xfrm>
                  <a:off x="5901863" y="5644136"/>
                  <a:ext cx="108000" cy="108000"/>
                </a:xfrm>
                <a:prstGeom prst="ellipse">
                  <a:avLst/>
                </a:prstGeom>
                <a:solidFill>
                  <a:srgbClr val="F8992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37" name="Picture 36" descr="A picture containing light&#10;&#10;Description automatically generated">
                <a:extLst>
                  <a:ext uri="{FF2B5EF4-FFF2-40B4-BE49-F238E27FC236}">
                    <a16:creationId xmlns:a16="http://schemas.microsoft.com/office/drawing/2014/main" id="{443318A2-66F8-4E5C-841C-7B1574E495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16301" y="5878077"/>
                <a:ext cx="360000" cy="360000"/>
              </a:xfrm>
              <a:prstGeom prst="rect">
                <a:avLst/>
              </a:prstGeom>
            </p:spPr>
          </p:pic>
        </p:grp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81E82D1E-DE7D-4E07-80E7-5D76B2ABFFF8}"/>
                </a:ext>
              </a:extLst>
            </p:cNvPr>
            <p:cNvCxnSpPr>
              <a:cxnSpLocks/>
              <a:stCxn id="486" idx="4"/>
              <a:endCxn id="37" idx="1"/>
            </p:cNvCxnSpPr>
            <p:nvPr/>
          </p:nvCxnSpPr>
          <p:spPr>
            <a:xfrm rot="16200000" flipH="1">
              <a:off x="6533176" y="4888934"/>
              <a:ext cx="289308" cy="592512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8" name="Rectangle 487">
              <a:extLst>
                <a:ext uri="{FF2B5EF4-FFF2-40B4-BE49-F238E27FC236}">
                  <a16:creationId xmlns:a16="http://schemas.microsoft.com/office/drawing/2014/main" id="{82C5C177-D281-4C16-905F-6E59B75BF5BE}"/>
                </a:ext>
              </a:extLst>
            </p:cNvPr>
            <p:cNvSpPr/>
            <p:nvPr/>
          </p:nvSpPr>
          <p:spPr>
            <a:xfrm>
              <a:off x="1225031" y="3648236"/>
              <a:ext cx="3719691" cy="2124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Kribi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216 MW</a:t>
              </a:r>
            </a:p>
          </p:txBody>
        </p:sp>
        <p:pic>
          <p:nvPicPr>
            <p:cNvPr id="494" name="Picture 493">
              <a:extLst>
                <a:ext uri="{FF2B5EF4-FFF2-40B4-BE49-F238E27FC236}">
                  <a16:creationId xmlns:a16="http://schemas.microsoft.com/office/drawing/2014/main" id="{C8C5481B-EF85-493A-9C40-2E6F580967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23314" y="3612433"/>
              <a:ext cx="278178" cy="255414"/>
            </a:xfrm>
            <a:prstGeom prst="rect">
              <a:avLst/>
            </a:prstGeom>
          </p:spPr>
        </p:pic>
        <p:grpSp>
          <p:nvGrpSpPr>
            <p:cNvPr id="496" name="Group 495">
              <a:extLst>
                <a:ext uri="{FF2B5EF4-FFF2-40B4-BE49-F238E27FC236}">
                  <a16:creationId xmlns:a16="http://schemas.microsoft.com/office/drawing/2014/main" id="{616CEF71-A630-442B-BD98-B7B78BC9BE78}"/>
                </a:ext>
              </a:extLst>
            </p:cNvPr>
            <p:cNvGrpSpPr/>
            <p:nvPr/>
          </p:nvGrpSpPr>
          <p:grpSpPr>
            <a:xfrm>
              <a:off x="6127386" y="5199237"/>
              <a:ext cx="3727734" cy="817776"/>
              <a:chOff x="6358071" y="5589582"/>
              <a:chExt cx="3544583" cy="783645"/>
            </a:xfrm>
          </p:grpSpPr>
          <p:sp>
            <p:nvSpPr>
              <p:cNvPr id="498" name="Rectangle 497">
                <a:extLst>
                  <a:ext uri="{FF2B5EF4-FFF2-40B4-BE49-F238E27FC236}">
                    <a16:creationId xmlns:a16="http://schemas.microsoft.com/office/drawing/2014/main" id="{3696D72B-6FDF-4746-9452-4E9363396FAF}"/>
                  </a:ext>
                </a:extLst>
              </p:cNvPr>
              <p:cNvSpPr/>
              <p:nvPr/>
            </p:nvSpPr>
            <p:spPr>
              <a:xfrm>
                <a:off x="7058654" y="6159371"/>
                <a:ext cx="2844000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13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98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Klipheuwel | 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98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27 MW</a:t>
                </a:r>
              </a:p>
            </p:txBody>
          </p:sp>
          <p:sp>
            <p:nvSpPr>
              <p:cNvPr id="499" name="Oval 498">
                <a:extLst>
                  <a:ext uri="{FF2B5EF4-FFF2-40B4-BE49-F238E27FC236}">
                    <a16:creationId xmlns:a16="http://schemas.microsoft.com/office/drawing/2014/main" id="{378A01C0-F0E1-45B1-A91F-E707DE2326E6}"/>
                  </a:ext>
                </a:extLst>
              </p:cNvPr>
              <p:cNvSpPr/>
              <p:nvPr/>
            </p:nvSpPr>
            <p:spPr>
              <a:xfrm>
                <a:off x="6358071" y="5589582"/>
                <a:ext cx="108000" cy="108000"/>
              </a:xfrm>
              <a:prstGeom prst="ellipse">
                <a:avLst/>
              </a:prstGeom>
              <a:solidFill>
                <a:srgbClr val="F8992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F87BF97-E05A-4EE8-AA27-EA738A8334C3}"/>
                </a:ext>
              </a:extLst>
            </p:cNvPr>
            <p:cNvGrpSpPr/>
            <p:nvPr/>
          </p:nvGrpSpPr>
          <p:grpSpPr>
            <a:xfrm>
              <a:off x="6350298" y="5313013"/>
              <a:ext cx="3680608" cy="416904"/>
              <a:chOff x="5954415" y="6041970"/>
              <a:chExt cx="3499772" cy="399504"/>
            </a:xfrm>
          </p:grpSpPr>
          <p:sp>
            <p:nvSpPr>
              <p:cNvPr id="492" name="Rectangle 491">
                <a:extLst>
                  <a:ext uri="{FF2B5EF4-FFF2-40B4-BE49-F238E27FC236}">
                    <a16:creationId xmlns:a16="http://schemas.microsoft.com/office/drawing/2014/main" id="{D4F0BD95-0DA5-4AA5-9F9B-123DF8A75C3E}"/>
                  </a:ext>
                </a:extLst>
              </p:cNvPr>
              <p:cNvSpPr/>
              <p:nvPr/>
            </p:nvSpPr>
            <p:spPr>
              <a:xfrm>
                <a:off x="6610187" y="6227618"/>
                <a:ext cx="2844000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13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98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Jeffreys Bay | 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98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138 MW</a:t>
                </a:r>
              </a:p>
            </p:txBody>
          </p:sp>
          <p:cxnSp>
            <p:nvCxnSpPr>
              <p:cNvPr id="500" name="Connector: Elbow 499">
                <a:extLst>
                  <a:ext uri="{FF2B5EF4-FFF2-40B4-BE49-F238E27FC236}">
                    <a16:creationId xmlns:a16="http://schemas.microsoft.com/office/drawing/2014/main" id="{AC1F5EE7-F7F2-4A8F-8F87-9DABC47A55B4}"/>
                  </a:ext>
                </a:extLst>
              </p:cNvPr>
              <p:cNvCxnSpPr>
                <a:cxnSpLocks/>
                <a:stCxn id="504" idx="4"/>
                <a:endCxn id="501" idx="1"/>
              </p:cNvCxnSpPr>
              <p:nvPr/>
            </p:nvCxnSpPr>
            <p:spPr>
              <a:xfrm rot="16200000" flipH="1">
                <a:off x="6008461" y="5987924"/>
                <a:ext cx="281485" cy="389577"/>
              </a:xfrm>
              <a:prstGeom prst="bentConnector2">
                <a:avLst/>
              </a:prstGeom>
              <a:ln>
                <a:solidFill>
                  <a:srgbClr val="F498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501" name="Picture 500">
              <a:extLst>
                <a:ext uri="{FF2B5EF4-FFF2-40B4-BE49-F238E27FC236}">
                  <a16:creationId xmlns:a16="http://schemas.microsoft.com/office/drawing/2014/main" id="{F76FB68F-A44C-426F-BBA8-CE7FECC897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60005" y="5472577"/>
              <a:ext cx="260447" cy="268375"/>
            </a:xfrm>
            <a:prstGeom prst="rect">
              <a:avLst/>
            </a:prstGeom>
          </p:spPr>
        </p:pic>
        <p:cxnSp>
          <p:nvCxnSpPr>
            <p:cNvPr id="503" name="Connector: Elbow 502">
              <a:extLst>
                <a:ext uri="{FF2B5EF4-FFF2-40B4-BE49-F238E27FC236}">
                  <a16:creationId xmlns:a16="http://schemas.microsoft.com/office/drawing/2014/main" id="{245927A9-FB0B-42AE-ABF3-145088C40A23}"/>
                </a:ext>
              </a:extLst>
            </p:cNvPr>
            <p:cNvCxnSpPr>
              <a:cxnSpLocks/>
              <a:stCxn id="499" idx="4"/>
              <a:endCxn id="517" idx="1"/>
            </p:cNvCxnSpPr>
            <p:nvPr/>
          </p:nvCxnSpPr>
          <p:spPr>
            <a:xfrm rot="16200000" flipH="1">
              <a:off x="6102447" y="5393670"/>
              <a:ext cx="568914" cy="405456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4" name="Oval 503">
              <a:extLst>
                <a:ext uri="{FF2B5EF4-FFF2-40B4-BE49-F238E27FC236}">
                  <a16:creationId xmlns:a16="http://schemas.microsoft.com/office/drawing/2014/main" id="{ABF37E57-FB6A-4A41-8522-888C5B24FBCA}"/>
                </a:ext>
              </a:extLst>
            </p:cNvPr>
            <p:cNvSpPr/>
            <p:nvPr/>
          </p:nvSpPr>
          <p:spPr>
            <a:xfrm>
              <a:off x="6293508" y="5200316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cxnSp>
          <p:nvCxnSpPr>
            <p:cNvPr id="472" name="Straight Connector 471">
              <a:extLst>
                <a:ext uri="{FF2B5EF4-FFF2-40B4-BE49-F238E27FC236}">
                  <a16:creationId xmlns:a16="http://schemas.microsoft.com/office/drawing/2014/main" id="{BB7401C9-49DE-44A9-85AC-2BADEB56E878}"/>
                </a:ext>
              </a:extLst>
            </p:cNvPr>
            <p:cNvCxnSpPr>
              <a:cxnSpLocks/>
              <a:endCxn id="471" idx="4"/>
            </p:cNvCxnSpPr>
            <p:nvPr/>
          </p:nvCxnSpPr>
          <p:spPr>
            <a:xfrm flipV="1">
              <a:off x="5484815" y="5331080"/>
              <a:ext cx="513930" cy="327457"/>
            </a:xfrm>
            <a:prstGeom prst="bentConnector2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9" name="Freeform 51">
              <a:extLst>
                <a:ext uri="{FF2B5EF4-FFF2-40B4-BE49-F238E27FC236}">
                  <a16:creationId xmlns:a16="http://schemas.microsoft.com/office/drawing/2014/main" id="{5B9967A8-79B0-490E-8627-ED7397954F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6332" y="5569186"/>
              <a:ext cx="189301" cy="187839"/>
            </a:xfrm>
            <a:custGeom>
              <a:avLst/>
              <a:gdLst>
                <a:gd name="T0" fmla="*/ 1613 w 3750"/>
                <a:gd name="T1" fmla="*/ 2844 h 3108"/>
                <a:gd name="T2" fmla="*/ 2171 w 3750"/>
                <a:gd name="T3" fmla="*/ 2883 h 3108"/>
                <a:gd name="T4" fmla="*/ 2184 w 3750"/>
                <a:gd name="T5" fmla="*/ 2315 h 3108"/>
                <a:gd name="T6" fmla="*/ 2893 w 3750"/>
                <a:gd name="T7" fmla="*/ 2222 h 3108"/>
                <a:gd name="T8" fmla="*/ 2907 w 3750"/>
                <a:gd name="T9" fmla="*/ 2615 h 3108"/>
                <a:gd name="T10" fmla="*/ 3288 w 3750"/>
                <a:gd name="T11" fmla="*/ 2575 h 3108"/>
                <a:gd name="T12" fmla="*/ 2924 w 3750"/>
                <a:gd name="T13" fmla="*/ 2210 h 3108"/>
                <a:gd name="T14" fmla="*/ 460 w 3750"/>
                <a:gd name="T15" fmla="*/ 2575 h 3108"/>
                <a:gd name="T16" fmla="*/ 841 w 3750"/>
                <a:gd name="T17" fmla="*/ 2615 h 3108"/>
                <a:gd name="T18" fmla="*/ 855 w 3750"/>
                <a:gd name="T19" fmla="*/ 2222 h 3108"/>
                <a:gd name="T20" fmla="*/ 2893 w 3750"/>
                <a:gd name="T21" fmla="*/ 1677 h 3108"/>
                <a:gd name="T22" fmla="*/ 2907 w 3750"/>
                <a:gd name="T23" fmla="*/ 2069 h 3108"/>
                <a:gd name="T24" fmla="*/ 3288 w 3750"/>
                <a:gd name="T25" fmla="*/ 2029 h 3108"/>
                <a:gd name="T26" fmla="*/ 2924 w 3750"/>
                <a:gd name="T27" fmla="*/ 1665 h 3108"/>
                <a:gd name="T28" fmla="*/ 460 w 3750"/>
                <a:gd name="T29" fmla="*/ 2029 h 3108"/>
                <a:gd name="T30" fmla="*/ 841 w 3750"/>
                <a:gd name="T31" fmla="*/ 2069 h 3108"/>
                <a:gd name="T32" fmla="*/ 855 w 3750"/>
                <a:gd name="T33" fmla="*/ 1677 h 3108"/>
                <a:gd name="T34" fmla="*/ 2076 w 3750"/>
                <a:gd name="T35" fmla="*/ 1667 h 3108"/>
                <a:gd name="T36" fmla="*/ 2090 w 3750"/>
                <a:gd name="T37" fmla="*/ 2059 h 3108"/>
                <a:gd name="T38" fmla="*/ 2471 w 3750"/>
                <a:gd name="T39" fmla="*/ 2020 h 3108"/>
                <a:gd name="T40" fmla="*/ 2107 w 3750"/>
                <a:gd name="T41" fmla="*/ 1654 h 3108"/>
                <a:gd name="T42" fmla="*/ 1332 w 3750"/>
                <a:gd name="T43" fmla="*/ 2020 h 3108"/>
                <a:gd name="T44" fmla="*/ 1713 w 3750"/>
                <a:gd name="T45" fmla="*/ 2059 h 3108"/>
                <a:gd name="T46" fmla="*/ 1726 w 3750"/>
                <a:gd name="T47" fmla="*/ 1667 h 3108"/>
                <a:gd name="T48" fmla="*/ 2076 w 3750"/>
                <a:gd name="T49" fmla="*/ 1121 h 3108"/>
                <a:gd name="T50" fmla="*/ 2090 w 3750"/>
                <a:gd name="T51" fmla="*/ 1514 h 3108"/>
                <a:gd name="T52" fmla="*/ 2471 w 3750"/>
                <a:gd name="T53" fmla="*/ 1474 h 3108"/>
                <a:gd name="T54" fmla="*/ 2107 w 3750"/>
                <a:gd name="T55" fmla="*/ 1109 h 3108"/>
                <a:gd name="T56" fmla="*/ 1332 w 3750"/>
                <a:gd name="T57" fmla="*/ 1474 h 3108"/>
                <a:gd name="T58" fmla="*/ 1713 w 3750"/>
                <a:gd name="T59" fmla="*/ 1514 h 3108"/>
                <a:gd name="T60" fmla="*/ 1726 w 3750"/>
                <a:gd name="T61" fmla="*/ 1121 h 3108"/>
                <a:gd name="T62" fmla="*/ 2893 w 3750"/>
                <a:gd name="T63" fmla="*/ 1112 h 3108"/>
                <a:gd name="T64" fmla="*/ 2907 w 3750"/>
                <a:gd name="T65" fmla="*/ 1504 h 3108"/>
                <a:gd name="T66" fmla="*/ 3288 w 3750"/>
                <a:gd name="T67" fmla="*/ 1465 h 3108"/>
                <a:gd name="T68" fmla="*/ 2924 w 3750"/>
                <a:gd name="T69" fmla="*/ 1099 h 3108"/>
                <a:gd name="T70" fmla="*/ 460 w 3750"/>
                <a:gd name="T71" fmla="*/ 1465 h 3108"/>
                <a:gd name="T72" fmla="*/ 841 w 3750"/>
                <a:gd name="T73" fmla="*/ 1504 h 3108"/>
                <a:gd name="T74" fmla="*/ 855 w 3750"/>
                <a:gd name="T75" fmla="*/ 1112 h 3108"/>
                <a:gd name="T76" fmla="*/ 2076 w 3750"/>
                <a:gd name="T77" fmla="*/ 557 h 3108"/>
                <a:gd name="T78" fmla="*/ 2090 w 3750"/>
                <a:gd name="T79" fmla="*/ 949 h 3108"/>
                <a:gd name="T80" fmla="*/ 2471 w 3750"/>
                <a:gd name="T81" fmla="*/ 909 h 3108"/>
                <a:gd name="T82" fmla="*/ 2107 w 3750"/>
                <a:gd name="T83" fmla="*/ 544 h 3108"/>
                <a:gd name="T84" fmla="*/ 1332 w 3750"/>
                <a:gd name="T85" fmla="*/ 909 h 3108"/>
                <a:gd name="T86" fmla="*/ 1713 w 3750"/>
                <a:gd name="T87" fmla="*/ 949 h 3108"/>
                <a:gd name="T88" fmla="*/ 1726 w 3750"/>
                <a:gd name="T89" fmla="*/ 557 h 3108"/>
                <a:gd name="T90" fmla="*/ 2787 w 3750"/>
                <a:gd name="T91" fmla="*/ 2 h 3108"/>
                <a:gd name="T92" fmla="*/ 2820 w 3750"/>
                <a:gd name="T93" fmla="*/ 165 h 3108"/>
                <a:gd name="T94" fmla="*/ 2761 w 3750"/>
                <a:gd name="T95" fmla="*/ 204 h 3108"/>
                <a:gd name="T96" fmla="*/ 2754 w 3750"/>
                <a:gd name="T97" fmla="*/ 620 h 3108"/>
                <a:gd name="T98" fmla="*/ 2779 w 3750"/>
                <a:gd name="T99" fmla="*/ 645 h 3108"/>
                <a:gd name="T100" fmla="*/ 3621 w 3750"/>
                <a:gd name="T101" fmla="*/ 716 h 3108"/>
                <a:gd name="T102" fmla="*/ 3629 w 3750"/>
                <a:gd name="T103" fmla="*/ 2878 h 3108"/>
                <a:gd name="T104" fmla="*/ 3728 w 3750"/>
                <a:gd name="T105" fmla="*/ 2899 h 3108"/>
                <a:gd name="T106" fmla="*/ 3739 w 3750"/>
                <a:gd name="T107" fmla="*/ 3087 h 3108"/>
                <a:gd name="T108" fmla="*/ 22 w 3750"/>
                <a:gd name="T109" fmla="*/ 3098 h 3108"/>
                <a:gd name="T110" fmla="*/ 10 w 3750"/>
                <a:gd name="T111" fmla="*/ 2912 h 3108"/>
                <a:gd name="T112" fmla="*/ 112 w 3750"/>
                <a:gd name="T113" fmla="*/ 2887 h 3108"/>
                <a:gd name="T114" fmla="*/ 137 w 3750"/>
                <a:gd name="T115" fmla="*/ 693 h 3108"/>
                <a:gd name="T116" fmla="*/ 1037 w 3750"/>
                <a:gd name="T117" fmla="*/ 643 h 3108"/>
                <a:gd name="T118" fmla="*/ 1048 w 3750"/>
                <a:gd name="T119" fmla="*/ 610 h 3108"/>
                <a:gd name="T120" fmla="*/ 1046 w 3750"/>
                <a:gd name="T121" fmla="*/ 209 h 3108"/>
                <a:gd name="T122" fmla="*/ 1002 w 3750"/>
                <a:gd name="T123" fmla="*/ 193 h 3108"/>
                <a:gd name="T124" fmla="*/ 989 w 3750"/>
                <a:gd name="T125" fmla="*/ 21 h 3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50" h="3108">
                  <a:moveTo>
                    <a:pt x="1657" y="2302"/>
                  </a:moveTo>
                  <a:lnTo>
                    <a:pt x="1640" y="2305"/>
                  </a:lnTo>
                  <a:lnTo>
                    <a:pt x="1626" y="2315"/>
                  </a:lnTo>
                  <a:lnTo>
                    <a:pt x="1617" y="2328"/>
                  </a:lnTo>
                  <a:lnTo>
                    <a:pt x="1613" y="2345"/>
                  </a:lnTo>
                  <a:lnTo>
                    <a:pt x="1613" y="2844"/>
                  </a:lnTo>
                  <a:lnTo>
                    <a:pt x="1617" y="2860"/>
                  </a:lnTo>
                  <a:lnTo>
                    <a:pt x="1626" y="2874"/>
                  </a:lnTo>
                  <a:lnTo>
                    <a:pt x="1640" y="2883"/>
                  </a:lnTo>
                  <a:lnTo>
                    <a:pt x="1657" y="2887"/>
                  </a:lnTo>
                  <a:lnTo>
                    <a:pt x="2155" y="2887"/>
                  </a:lnTo>
                  <a:lnTo>
                    <a:pt x="2171" y="2883"/>
                  </a:lnTo>
                  <a:lnTo>
                    <a:pt x="2184" y="2874"/>
                  </a:lnTo>
                  <a:lnTo>
                    <a:pt x="2193" y="2860"/>
                  </a:lnTo>
                  <a:lnTo>
                    <a:pt x="2197" y="2844"/>
                  </a:lnTo>
                  <a:lnTo>
                    <a:pt x="2197" y="2345"/>
                  </a:lnTo>
                  <a:lnTo>
                    <a:pt x="2193" y="2328"/>
                  </a:lnTo>
                  <a:lnTo>
                    <a:pt x="2184" y="2315"/>
                  </a:lnTo>
                  <a:lnTo>
                    <a:pt x="2171" y="2305"/>
                  </a:lnTo>
                  <a:lnTo>
                    <a:pt x="2155" y="2302"/>
                  </a:lnTo>
                  <a:lnTo>
                    <a:pt x="1657" y="2302"/>
                  </a:lnTo>
                  <a:close/>
                  <a:moveTo>
                    <a:pt x="2924" y="2210"/>
                  </a:moveTo>
                  <a:lnTo>
                    <a:pt x="2907" y="2213"/>
                  </a:lnTo>
                  <a:lnTo>
                    <a:pt x="2893" y="2222"/>
                  </a:lnTo>
                  <a:lnTo>
                    <a:pt x="2884" y="2236"/>
                  </a:lnTo>
                  <a:lnTo>
                    <a:pt x="2880" y="2253"/>
                  </a:lnTo>
                  <a:lnTo>
                    <a:pt x="2880" y="2575"/>
                  </a:lnTo>
                  <a:lnTo>
                    <a:pt x="2884" y="2592"/>
                  </a:lnTo>
                  <a:lnTo>
                    <a:pt x="2893" y="2605"/>
                  </a:lnTo>
                  <a:lnTo>
                    <a:pt x="2907" y="2615"/>
                  </a:lnTo>
                  <a:lnTo>
                    <a:pt x="2924" y="2618"/>
                  </a:lnTo>
                  <a:lnTo>
                    <a:pt x="3245" y="2618"/>
                  </a:lnTo>
                  <a:lnTo>
                    <a:pt x="3262" y="2615"/>
                  </a:lnTo>
                  <a:lnTo>
                    <a:pt x="3276" y="2605"/>
                  </a:lnTo>
                  <a:lnTo>
                    <a:pt x="3285" y="2592"/>
                  </a:lnTo>
                  <a:lnTo>
                    <a:pt x="3288" y="2575"/>
                  </a:lnTo>
                  <a:lnTo>
                    <a:pt x="3288" y="2253"/>
                  </a:lnTo>
                  <a:lnTo>
                    <a:pt x="3285" y="2236"/>
                  </a:lnTo>
                  <a:lnTo>
                    <a:pt x="3276" y="2222"/>
                  </a:lnTo>
                  <a:lnTo>
                    <a:pt x="3262" y="2213"/>
                  </a:lnTo>
                  <a:lnTo>
                    <a:pt x="3245" y="2210"/>
                  </a:lnTo>
                  <a:lnTo>
                    <a:pt x="2924" y="2210"/>
                  </a:lnTo>
                  <a:close/>
                  <a:moveTo>
                    <a:pt x="502" y="2210"/>
                  </a:moveTo>
                  <a:lnTo>
                    <a:pt x="487" y="2213"/>
                  </a:lnTo>
                  <a:lnTo>
                    <a:pt x="473" y="2222"/>
                  </a:lnTo>
                  <a:lnTo>
                    <a:pt x="463" y="2236"/>
                  </a:lnTo>
                  <a:lnTo>
                    <a:pt x="460" y="2253"/>
                  </a:lnTo>
                  <a:lnTo>
                    <a:pt x="460" y="2575"/>
                  </a:lnTo>
                  <a:lnTo>
                    <a:pt x="463" y="2592"/>
                  </a:lnTo>
                  <a:lnTo>
                    <a:pt x="473" y="2605"/>
                  </a:lnTo>
                  <a:lnTo>
                    <a:pt x="487" y="2615"/>
                  </a:lnTo>
                  <a:lnTo>
                    <a:pt x="502" y="2618"/>
                  </a:lnTo>
                  <a:lnTo>
                    <a:pt x="824" y="2618"/>
                  </a:lnTo>
                  <a:lnTo>
                    <a:pt x="841" y="2615"/>
                  </a:lnTo>
                  <a:lnTo>
                    <a:pt x="855" y="2605"/>
                  </a:lnTo>
                  <a:lnTo>
                    <a:pt x="864" y="2592"/>
                  </a:lnTo>
                  <a:lnTo>
                    <a:pt x="867" y="2575"/>
                  </a:lnTo>
                  <a:lnTo>
                    <a:pt x="867" y="2253"/>
                  </a:lnTo>
                  <a:lnTo>
                    <a:pt x="864" y="2236"/>
                  </a:lnTo>
                  <a:lnTo>
                    <a:pt x="855" y="2222"/>
                  </a:lnTo>
                  <a:lnTo>
                    <a:pt x="841" y="2213"/>
                  </a:lnTo>
                  <a:lnTo>
                    <a:pt x="824" y="2210"/>
                  </a:lnTo>
                  <a:lnTo>
                    <a:pt x="502" y="2210"/>
                  </a:lnTo>
                  <a:close/>
                  <a:moveTo>
                    <a:pt x="2924" y="1665"/>
                  </a:moveTo>
                  <a:lnTo>
                    <a:pt x="2907" y="1668"/>
                  </a:lnTo>
                  <a:lnTo>
                    <a:pt x="2893" y="1677"/>
                  </a:lnTo>
                  <a:lnTo>
                    <a:pt x="2884" y="1691"/>
                  </a:lnTo>
                  <a:lnTo>
                    <a:pt x="2880" y="1707"/>
                  </a:lnTo>
                  <a:lnTo>
                    <a:pt x="2880" y="2029"/>
                  </a:lnTo>
                  <a:lnTo>
                    <a:pt x="2884" y="2046"/>
                  </a:lnTo>
                  <a:lnTo>
                    <a:pt x="2893" y="2060"/>
                  </a:lnTo>
                  <a:lnTo>
                    <a:pt x="2907" y="2069"/>
                  </a:lnTo>
                  <a:lnTo>
                    <a:pt x="2924" y="2072"/>
                  </a:lnTo>
                  <a:lnTo>
                    <a:pt x="3245" y="2072"/>
                  </a:lnTo>
                  <a:lnTo>
                    <a:pt x="3262" y="2069"/>
                  </a:lnTo>
                  <a:lnTo>
                    <a:pt x="3276" y="2060"/>
                  </a:lnTo>
                  <a:lnTo>
                    <a:pt x="3285" y="2046"/>
                  </a:lnTo>
                  <a:lnTo>
                    <a:pt x="3288" y="2029"/>
                  </a:lnTo>
                  <a:lnTo>
                    <a:pt x="3288" y="1707"/>
                  </a:lnTo>
                  <a:lnTo>
                    <a:pt x="3285" y="1691"/>
                  </a:lnTo>
                  <a:lnTo>
                    <a:pt x="3276" y="1677"/>
                  </a:lnTo>
                  <a:lnTo>
                    <a:pt x="3262" y="1668"/>
                  </a:lnTo>
                  <a:lnTo>
                    <a:pt x="3245" y="1665"/>
                  </a:lnTo>
                  <a:lnTo>
                    <a:pt x="2924" y="1665"/>
                  </a:lnTo>
                  <a:close/>
                  <a:moveTo>
                    <a:pt x="502" y="1665"/>
                  </a:moveTo>
                  <a:lnTo>
                    <a:pt x="487" y="1668"/>
                  </a:lnTo>
                  <a:lnTo>
                    <a:pt x="473" y="1677"/>
                  </a:lnTo>
                  <a:lnTo>
                    <a:pt x="463" y="1691"/>
                  </a:lnTo>
                  <a:lnTo>
                    <a:pt x="460" y="1707"/>
                  </a:lnTo>
                  <a:lnTo>
                    <a:pt x="460" y="2029"/>
                  </a:lnTo>
                  <a:lnTo>
                    <a:pt x="463" y="2046"/>
                  </a:lnTo>
                  <a:lnTo>
                    <a:pt x="473" y="2060"/>
                  </a:lnTo>
                  <a:lnTo>
                    <a:pt x="487" y="2069"/>
                  </a:lnTo>
                  <a:lnTo>
                    <a:pt x="502" y="2072"/>
                  </a:lnTo>
                  <a:lnTo>
                    <a:pt x="824" y="2072"/>
                  </a:lnTo>
                  <a:lnTo>
                    <a:pt x="841" y="2069"/>
                  </a:lnTo>
                  <a:lnTo>
                    <a:pt x="855" y="2060"/>
                  </a:lnTo>
                  <a:lnTo>
                    <a:pt x="864" y="2046"/>
                  </a:lnTo>
                  <a:lnTo>
                    <a:pt x="867" y="2029"/>
                  </a:lnTo>
                  <a:lnTo>
                    <a:pt x="867" y="1707"/>
                  </a:lnTo>
                  <a:lnTo>
                    <a:pt x="864" y="1691"/>
                  </a:lnTo>
                  <a:lnTo>
                    <a:pt x="855" y="1677"/>
                  </a:lnTo>
                  <a:lnTo>
                    <a:pt x="841" y="1668"/>
                  </a:lnTo>
                  <a:lnTo>
                    <a:pt x="824" y="1665"/>
                  </a:lnTo>
                  <a:lnTo>
                    <a:pt x="502" y="1665"/>
                  </a:lnTo>
                  <a:close/>
                  <a:moveTo>
                    <a:pt x="2107" y="1654"/>
                  </a:moveTo>
                  <a:lnTo>
                    <a:pt x="2090" y="1658"/>
                  </a:lnTo>
                  <a:lnTo>
                    <a:pt x="2076" y="1667"/>
                  </a:lnTo>
                  <a:lnTo>
                    <a:pt x="2067" y="1681"/>
                  </a:lnTo>
                  <a:lnTo>
                    <a:pt x="2063" y="1698"/>
                  </a:lnTo>
                  <a:lnTo>
                    <a:pt x="2063" y="2020"/>
                  </a:lnTo>
                  <a:lnTo>
                    <a:pt x="2067" y="2036"/>
                  </a:lnTo>
                  <a:lnTo>
                    <a:pt x="2076" y="2050"/>
                  </a:lnTo>
                  <a:lnTo>
                    <a:pt x="2090" y="2059"/>
                  </a:lnTo>
                  <a:lnTo>
                    <a:pt x="2107" y="2062"/>
                  </a:lnTo>
                  <a:lnTo>
                    <a:pt x="2428" y="2062"/>
                  </a:lnTo>
                  <a:lnTo>
                    <a:pt x="2445" y="2059"/>
                  </a:lnTo>
                  <a:lnTo>
                    <a:pt x="2458" y="2050"/>
                  </a:lnTo>
                  <a:lnTo>
                    <a:pt x="2468" y="2036"/>
                  </a:lnTo>
                  <a:lnTo>
                    <a:pt x="2471" y="2020"/>
                  </a:lnTo>
                  <a:lnTo>
                    <a:pt x="2471" y="1698"/>
                  </a:lnTo>
                  <a:lnTo>
                    <a:pt x="2468" y="1681"/>
                  </a:lnTo>
                  <a:lnTo>
                    <a:pt x="2458" y="1667"/>
                  </a:lnTo>
                  <a:lnTo>
                    <a:pt x="2445" y="1658"/>
                  </a:lnTo>
                  <a:lnTo>
                    <a:pt x="2428" y="1654"/>
                  </a:lnTo>
                  <a:lnTo>
                    <a:pt x="2107" y="1654"/>
                  </a:lnTo>
                  <a:close/>
                  <a:moveTo>
                    <a:pt x="1375" y="1654"/>
                  </a:moveTo>
                  <a:lnTo>
                    <a:pt x="1358" y="1658"/>
                  </a:lnTo>
                  <a:lnTo>
                    <a:pt x="1344" y="1667"/>
                  </a:lnTo>
                  <a:lnTo>
                    <a:pt x="1335" y="1681"/>
                  </a:lnTo>
                  <a:lnTo>
                    <a:pt x="1332" y="1698"/>
                  </a:lnTo>
                  <a:lnTo>
                    <a:pt x="1332" y="2020"/>
                  </a:lnTo>
                  <a:lnTo>
                    <a:pt x="1335" y="2036"/>
                  </a:lnTo>
                  <a:lnTo>
                    <a:pt x="1344" y="2050"/>
                  </a:lnTo>
                  <a:lnTo>
                    <a:pt x="1358" y="2059"/>
                  </a:lnTo>
                  <a:lnTo>
                    <a:pt x="1375" y="2062"/>
                  </a:lnTo>
                  <a:lnTo>
                    <a:pt x="1697" y="2062"/>
                  </a:lnTo>
                  <a:lnTo>
                    <a:pt x="1713" y="2059"/>
                  </a:lnTo>
                  <a:lnTo>
                    <a:pt x="1726" y="2050"/>
                  </a:lnTo>
                  <a:lnTo>
                    <a:pt x="1736" y="2036"/>
                  </a:lnTo>
                  <a:lnTo>
                    <a:pt x="1740" y="2020"/>
                  </a:lnTo>
                  <a:lnTo>
                    <a:pt x="1740" y="1698"/>
                  </a:lnTo>
                  <a:lnTo>
                    <a:pt x="1736" y="1681"/>
                  </a:lnTo>
                  <a:lnTo>
                    <a:pt x="1726" y="1667"/>
                  </a:lnTo>
                  <a:lnTo>
                    <a:pt x="1713" y="1658"/>
                  </a:lnTo>
                  <a:lnTo>
                    <a:pt x="1697" y="1654"/>
                  </a:lnTo>
                  <a:lnTo>
                    <a:pt x="1375" y="1654"/>
                  </a:lnTo>
                  <a:close/>
                  <a:moveTo>
                    <a:pt x="2107" y="1109"/>
                  </a:moveTo>
                  <a:lnTo>
                    <a:pt x="2090" y="1112"/>
                  </a:lnTo>
                  <a:lnTo>
                    <a:pt x="2076" y="1121"/>
                  </a:lnTo>
                  <a:lnTo>
                    <a:pt x="2067" y="1135"/>
                  </a:lnTo>
                  <a:lnTo>
                    <a:pt x="2063" y="1152"/>
                  </a:lnTo>
                  <a:lnTo>
                    <a:pt x="2063" y="1474"/>
                  </a:lnTo>
                  <a:lnTo>
                    <a:pt x="2067" y="1491"/>
                  </a:lnTo>
                  <a:lnTo>
                    <a:pt x="2076" y="1505"/>
                  </a:lnTo>
                  <a:lnTo>
                    <a:pt x="2090" y="1514"/>
                  </a:lnTo>
                  <a:lnTo>
                    <a:pt x="2107" y="1517"/>
                  </a:lnTo>
                  <a:lnTo>
                    <a:pt x="2428" y="1517"/>
                  </a:lnTo>
                  <a:lnTo>
                    <a:pt x="2445" y="1514"/>
                  </a:lnTo>
                  <a:lnTo>
                    <a:pt x="2458" y="1505"/>
                  </a:lnTo>
                  <a:lnTo>
                    <a:pt x="2468" y="1491"/>
                  </a:lnTo>
                  <a:lnTo>
                    <a:pt x="2471" y="1474"/>
                  </a:lnTo>
                  <a:lnTo>
                    <a:pt x="2471" y="1152"/>
                  </a:lnTo>
                  <a:lnTo>
                    <a:pt x="2468" y="1135"/>
                  </a:lnTo>
                  <a:lnTo>
                    <a:pt x="2458" y="1121"/>
                  </a:lnTo>
                  <a:lnTo>
                    <a:pt x="2445" y="1112"/>
                  </a:lnTo>
                  <a:lnTo>
                    <a:pt x="2428" y="1109"/>
                  </a:lnTo>
                  <a:lnTo>
                    <a:pt x="2107" y="1109"/>
                  </a:lnTo>
                  <a:close/>
                  <a:moveTo>
                    <a:pt x="1375" y="1109"/>
                  </a:moveTo>
                  <a:lnTo>
                    <a:pt x="1358" y="1112"/>
                  </a:lnTo>
                  <a:lnTo>
                    <a:pt x="1344" y="1121"/>
                  </a:lnTo>
                  <a:lnTo>
                    <a:pt x="1335" y="1135"/>
                  </a:lnTo>
                  <a:lnTo>
                    <a:pt x="1332" y="1152"/>
                  </a:lnTo>
                  <a:lnTo>
                    <a:pt x="1332" y="1474"/>
                  </a:lnTo>
                  <a:lnTo>
                    <a:pt x="1335" y="1491"/>
                  </a:lnTo>
                  <a:lnTo>
                    <a:pt x="1344" y="1505"/>
                  </a:lnTo>
                  <a:lnTo>
                    <a:pt x="1358" y="1514"/>
                  </a:lnTo>
                  <a:lnTo>
                    <a:pt x="1375" y="1517"/>
                  </a:lnTo>
                  <a:lnTo>
                    <a:pt x="1697" y="1517"/>
                  </a:lnTo>
                  <a:lnTo>
                    <a:pt x="1713" y="1514"/>
                  </a:lnTo>
                  <a:lnTo>
                    <a:pt x="1726" y="1505"/>
                  </a:lnTo>
                  <a:lnTo>
                    <a:pt x="1736" y="1491"/>
                  </a:lnTo>
                  <a:lnTo>
                    <a:pt x="1740" y="1474"/>
                  </a:lnTo>
                  <a:lnTo>
                    <a:pt x="1740" y="1152"/>
                  </a:lnTo>
                  <a:lnTo>
                    <a:pt x="1736" y="1135"/>
                  </a:lnTo>
                  <a:lnTo>
                    <a:pt x="1726" y="1121"/>
                  </a:lnTo>
                  <a:lnTo>
                    <a:pt x="1713" y="1112"/>
                  </a:lnTo>
                  <a:lnTo>
                    <a:pt x="1697" y="1109"/>
                  </a:lnTo>
                  <a:lnTo>
                    <a:pt x="1375" y="1109"/>
                  </a:lnTo>
                  <a:close/>
                  <a:moveTo>
                    <a:pt x="2924" y="1099"/>
                  </a:moveTo>
                  <a:lnTo>
                    <a:pt x="2907" y="1103"/>
                  </a:lnTo>
                  <a:lnTo>
                    <a:pt x="2893" y="1112"/>
                  </a:lnTo>
                  <a:lnTo>
                    <a:pt x="2884" y="1126"/>
                  </a:lnTo>
                  <a:lnTo>
                    <a:pt x="2880" y="1142"/>
                  </a:lnTo>
                  <a:lnTo>
                    <a:pt x="2880" y="1465"/>
                  </a:lnTo>
                  <a:lnTo>
                    <a:pt x="2884" y="1481"/>
                  </a:lnTo>
                  <a:lnTo>
                    <a:pt x="2893" y="1495"/>
                  </a:lnTo>
                  <a:lnTo>
                    <a:pt x="2907" y="1504"/>
                  </a:lnTo>
                  <a:lnTo>
                    <a:pt x="2924" y="1507"/>
                  </a:lnTo>
                  <a:lnTo>
                    <a:pt x="3245" y="1507"/>
                  </a:lnTo>
                  <a:lnTo>
                    <a:pt x="3262" y="1504"/>
                  </a:lnTo>
                  <a:lnTo>
                    <a:pt x="3276" y="1495"/>
                  </a:lnTo>
                  <a:lnTo>
                    <a:pt x="3285" y="1481"/>
                  </a:lnTo>
                  <a:lnTo>
                    <a:pt x="3288" y="1465"/>
                  </a:lnTo>
                  <a:lnTo>
                    <a:pt x="3288" y="1142"/>
                  </a:lnTo>
                  <a:lnTo>
                    <a:pt x="3285" y="1126"/>
                  </a:lnTo>
                  <a:lnTo>
                    <a:pt x="3276" y="1112"/>
                  </a:lnTo>
                  <a:lnTo>
                    <a:pt x="3262" y="1103"/>
                  </a:lnTo>
                  <a:lnTo>
                    <a:pt x="3245" y="1099"/>
                  </a:lnTo>
                  <a:lnTo>
                    <a:pt x="2924" y="1099"/>
                  </a:lnTo>
                  <a:close/>
                  <a:moveTo>
                    <a:pt x="502" y="1099"/>
                  </a:moveTo>
                  <a:lnTo>
                    <a:pt x="487" y="1103"/>
                  </a:lnTo>
                  <a:lnTo>
                    <a:pt x="473" y="1112"/>
                  </a:lnTo>
                  <a:lnTo>
                    <a:pt x="463" y="1126"/>
                  </a:lnTo>
                  <a:lnTo>
                    <a:pt x="460" y="1142"/>
                  </a:lnTo>
                  <a:lnTo>
                    <a:pt x="460" y="1465"/>
                  </a:lnTo>
                  <a:lnTo>
                    <a:pt x="463" y="1481"/>
                  </a:lnTo>
                  <a:lnTo>
                    <a:pt x="473" y="1495"/>
                  </a:lnTo>
                  <a:lnTo>
                    <a:pt x="487" y="1504"/>
                  </a:lnTo>
                  <a:lnTo>
                    <a:pt x="502" y="1507"/>
                  </a:lnTo>
                  <a:lnTo>
                    <a:pt x="824" y="1507"/>
                  </a:lnTo>
                  <a:lnTo>
                    <a:pt x="841" y="1504"/>
                  </a:lnTo>
                  <a:lnTo>
                    <a:pt x="855" y="1495"/>
                  </a:lnTo>
                  <a:lnTo>
                    <a:pt x="864" y="1481"/>
                  </a:lnTo>
                  <a:lnTo>
                    <a:pt x="867" y="1465"/>
                  </a:lnTo>
                  <a:lnTo>
                    <a:pt x="867" y="1142"/>
                  </a:lnTo>
                  <a:lnTo>
                    <a:pt x="864" y="1126"/>
                  </a:lnTo>
                  <a:lnTo>
                    <a:pt x="855" y="1112"/>
                  </a:lnTo>
                  <a:lnTo>
                    <a:pt x="841" y="1103"/>
                  </a:lnTo>
                  <a:lnTo>
                    <a:pt x="824" y="1099"/>
                  </a:lnTo>
                  <a:lnTo>
                    <a:pt x="502" y="1099"/>
                  </a:lnTo>
                  <a:close/>
                  <a:moveTo>
                    <a:pt x="2107" y="544"/>
                  </a:moveTo>
                  <a:lnTo>
                    <a:pt x="2090" y="548"/>
                  </a:lnTo>
                  <a:lnTo>
                    <a:pt x="2076" y="557"/>
                  </a:lnTo>
                  <a:lnTo>
                    <a:pt x="2067" y="571"/>
                  </a:lnTo>
                  <a:lnTo>
                    <a:pt x="2063" y="587"/>
                  </a:lnTo>
                  <a:lnTo>
                    <a:pt x="2063" y="909"/>
                  </a:lnTo>
                  <a:lnTo>
                    <a:pt x="2067" y="926"/>
                  </a:lnTo>
                  <a:lnTo>
                    <a:pt x="2076" y="940"/>
                  </a:lnTo>
                  <a:lnTo>
                    <a:pt x="2090" y="949"/>
                  </a:lnTo>
                  <a:lnTo>
                    <a:pt x="2107" y="952"/>
                  </a:lnTo>
                  <a:lnTo>
                    <a:pt x="2428" y="952"/>
                  </a:lnTo>
                  <a:lnTo>
                    <a:pt x="2445" y="949"/>
                  </a:lnTo>
                  <a:lnTo>
                    <a:pt x="2458" y="940"/>
                  </a:lnTo>
                  <a:lnTo>
                    <a:pt x="2468" y="926"/>
                  </a:lnTo>
                  <a:lnTo>
                    <a:pt x="2471" y="909"/>
                  </a:lnTo>
                  <a:lnTo>
                    <a:pt x="2471" y="587"/>
                  </a:lnTo>
                  <a:lnTo>
                    <a:pt x="2468" y="571"/>
                  </a:lnTo>
                  <a:lnTo>
                    <a:pt x="2458" y="557"/>
                  </a:lnTo>
                  <a:lnTo>
                    <a:pt x="2445" y="548"/>
                  </a:lnTo>
                  <a:lnTo>
                    <a:pt x="2428" y="544"/>
                  </a:lnTo>
                  <a:lnTo>
                    <a:pt x="2107" y="544"/>
                  </a:lnTo>
                  <a:close/>
                  <a:moveTo>
                    <a:pt x="1375" y="544"/>
                  </a:moveTo>
                  <a:lnTo>
                    <a:pt x="1358" y="548"/>
                  </a:lnTo>
                  <a:lnTo>
                    <a:pt x="1344" y="557"/>
                  </a:lnTo>
                  <a:lnTo>
                    <a:pt x="1335" y="571"/>
                  </a:lnTo>
                  <a:lnTo>
                    <a:pt x="1332" y="587"/>
                  </a:lnTo>
                  <a:lnTo>
                    <a:pt x="1332" y="909"/>
                  </a:lnTo>
                  <a:lnTo>
                    <a:pt x="1335" y="926"/>
                  </a:lnTo>
                  <a:lnTo>
                    <a:pt x="1344" y="940"/>
                  </a:lnTo>
                  <a:lnTo>
                    <a:pt x="1358" y="949"/>
                  </a:lnTo>
                  <a:lnTo>
                    <a:pt x="1375" y="952"/>
                  </a:lnTo>
                  <a:lnTo>
                    <a:pt x="1697" y="952"/>
                  </a:lnTo>
                  <a:lnTo>
                    <a:pt x="1713" y="949"/>
                  </a:lnTo>
                  <a:lnTo>
                    <a:pt x="1726" y="940"/>
                  </a:lnTo>
                  <a:lnTo>
                    <a:pt x="1736" y="926"/>
                  </a:lnTo>
                  <a:lnTo>
                    <a:pt x="1740" y="909"/>
                  </a:lnTo>
                  <a:lnTo>
                    <a:pt x="1740" y="587"/>
                  </a:lnTo>
                  <a:lnTo>
                    <a:pt x="1736" y="571"/>
                  </a:lnTo>
                  <a:lnTo>
                    <a:pt x="1726" y="557"/>
                  </a:lnTo>
                  <a:lnTo>
                    <a:pt x="1713" y="548"/>
                  </a:lnTo>
                  <a:lnTo>
                    <a:pt x="1697" y="544"/>
                  </a:lnTo>
                  <a:lnTo>
                    <a:pt x="1375" y="544"/>
                  </a:lnTo>
                  <a:close/>
                  <a:moveTo>
                    <a:pt x="1032" y="0"/>
                  </a:moveTo>
                  <a:lnTo>
                    <a:pt x="2770" y="0"/>
                  </a:lnTo>
                  <a:lnTo>
                    <a:pt x="2787" y="2"/>
                  </a:lnTo>
                  <a:lnTo>
                    <a:pt x="2801" y="10"/>
                  </a:lnTo>
                  <a:lnTo>
                    <a:pt x="2813" y="21"/>
                  </a:lnTo>
                  <a:lnTo>
                    <a:pt x="2820" y="36"/>
                  </a:lnTo>
                  <a:lnTo>
                    <a:pt x="2823" y="53"/>
                  </a:lnTo>
                  <a:lnTo>
                    <a:pt x="2823" y="149"/>
                  </a:lnTo>
                  <a:lnTo>
                    <a:pt x="2820" y="165"/>
                  </a:lnTo>
                  <a:lnTo>
                    <a:pt x="2813" y="180"/>
                  </a:lnTo>
                  <a:lnTo>
                    <a:pt x="2801" y="193"/>
                  </a:lnTo>
                  <a:lnTo>
                    <a:pt x="2787" y="200"/>
                  </a:lnTo>
                  <a:lnTo>
                    <a:pt x="2770" y="203"/>
                  </a:lnTo>
                  <a:lnTo>
                    <a:pt x="2764" y="203"/>
                  </a:lnTo>
                  <a:lnTo>
                    <a:pt x="2761" y="204"/>
                  </a:lnTo>
                  <a:lnTo>
                    <a:pt x="2757" y="204"/>
                  </a:lnTo>
                  <a:lnTo>
                    <a:pt x="2756" y="206"/>
                  </a:lnTo>
                  <a:lnTo>
                    <a:pt x="2755" y="208"/>
                  </a:lnTo>
                  <a:lnTo>
                    <a:pt x="2754" y="210"/>
                  </a:lnTo>
                  <a:lnTo>
                    <a:pt x="2754" y="211"/>
                  </a:lnTo>
                  <a:lnTo>
                    <a:pt x="2754" y="620"/>
                  </a:lnTo>
                  <a:lnTo>
                    <a:pt x="2754" y="621"/>
                  </a:lnTo>
                  <a:lnTo>
                    <a:pt x="2754" y="626"/>
                  </a:lnTo>
                  <a:lnTo>
                    <a:pt x="2756" y="632"/>
                  </a:lnTo>
                  <a:lnTo>
                    <a:pt x="2761" y="638"/>
                  </a:lnTo>
                  <a:lnTo>
                    <a:pt x="2768" y="643"/>
                  </a:lnTo>
                  <a:lnTo>
                    <a:pt x="2779" y="645"/>
                  </a:lnTo>
                  <a:lnTo>
                    <a:pt x="3528" y="645"/>
                  </a:lnTo>
                  <a:lnTo>
                    <a:pt x="3553" y="648"/>
                  </a:lnTo>
                  <a:lnTo>
                    <a:pt x="3575" y="659"/>
                  </a:lnTo>
                  <a:lnTo>
                    <a:pt x="3596" y="673"/>
                  </a:lnTo>
                  <a:lnTo>
                    <a:pt x="3611" y="693"/>
                  </a:lnTo>
                  <a:lnTo>
                    <a:pt x="3621" y="716"/>
                  </a:lnTo>
                  <a:lnTo>
                    <a:pt x="3624" y="742"/>
                  </a:lnTo>
                  <a:lnTo>
                    <a:pt x="3624" y="2859"/>
                  </a:lnTo>
                  <a:lnTo>
                    <a:pt x="3624" y="2860"/>
                  </a:lnTo>
                  <a:lnTo>
                    <a:pt x="3624" y="2865"/>
                  </a:lnTo>
                  <a:lnTo>
                    <a:pt x="3626" y="2871"/>
                  </a:lnTo>
                  <a:lnTo>
                    <a:pt x="3629" y="2878"/>
                  </a:lnTo>
                  <a:lnTo>
                    <a:pt x="3634" y="2883"/>
                  </a:lnTo>
                  <a:lnTo>
                    <a:pt x="3640" y="2888"/>
                  </a:lnTo>
                  <a:lnTo>
                    <a:pt x="3649" y="2889"/>
                  </a:lnTo>
                  <a:lnTo>
                    <a:pt x="3696" y="2889"/>
                  </a:lnTo>
                  <a:lnTo>
                    <a:pt x="3713" y="2892"/>
                  </a:lnTo>
                  <a:lnTo>
                    <a:pt x="3728" y="2899"/>
                  </a:lnTo>
                  <a:lnTo>
                    <a:pt x="3739" y="2912"/>
                  </a:lnTo>
                  <a:lnTo>
                    <a:pt x="3747" y="2926"/>
                  </a:lnTo>
                  <a:lnTo>
                    <a:pt x="3750" y="2943"/>
                  </a:lnTo>
                  <a:lnTo>
                    <a:pt x="3750" y="3055"/>
                  </a:lnTo>
                  <a:lnTo>
                    <a:pt x="3747" y="3072"/>
                  </a:lnTo>
                  <a:lnTo>
                    <a:pt x="3739" y="3087"/>
                  </a:lnTo>
                  <a:lnTo>
                    <a:pt x="3728" y="3098"/>
                  </a:lnTo>
                  <a:lnTo>
                    <a:pt x="3713" y="3106"/>
                  </a:lnTo>
                  <a:lnTo>
                    <a:pt x="3696" y="3108"/>
                  </a:lnTo>
                  <a:lnTo>
                    <a:pt x="54" y="3108"/>
                  </a:lnTo>
                  <a:lnTo>
                    <a:pt x="36" y="3106"/>
                  </a:lnTo>
                  <a:lnTo>
                    <a:pt x="22" y="3098"/>
                  </a:lnTo>
                  <a:lnTo>
                    <a:pt x="10" y="3087"/>
                  </a:lnTo>
                  <a:lnTo>
                    <a:pt x="2" y="3072"/>
                  </a:lnTo>
                  <a:lnTo>
                    <a:pt x="0" y="3055"/>
                  </a:lnTo>
                  <a:lnTo>
                    <a:pt x="0" y="2943"/>
                  </a:lnTo>
                  <a:lnTo>
                    <a:pt x="2" y="2926"/>
                  </a:lnTo>
                  <a:lnTo>
                    <a:pt x="10" y="2912"/>
                  </a:lnTo>
                  <a:lnTo>
                    <a:pt x="22" y="2899"/>
                  </a:lnTo>
                  <a:lnTo>
                    <a:pt x="36" y="2892"/>
                  </a:lnTo>
                  <a:lnTo>
                    <a:pt x="54" y="2889"/>
                  </a:lnTo>
                  <a:lnTo>
                    <a:pt x="91" y="2889"/>
                  </a:lnTo>
                  <a:lnTo>
                    <a:pt x="103" y="2889"/>
                  </a:lnTo>
                  <a:lnTo>
                    <a:pt x="112" y="2887"/>
                  </a:lnTo>
                  <a:lnTo>
                    <a:pt x="118" y="2882"/>
                  </a:lnTo>
                  <a:lnTo>
                    <a:pt x="122" y="2876"/>
                  </a:lnTo>
                  <a:lnTo>
                    <a:pt x="124" y="2866"/>
                  </a:lnTo>
                  <a:lnTo>
                    <a:pt x="124" y="742"/>
                  </a:lnTo>
                  <a:lnTo>
                    <a:pt x="128" y="716"/>
                  </a:lnTo>
                  <a:lnTo>
                    <a:pt x="137" y="693"/>
                  </a:lnTo>
                  <a:lnTo>
                    <a:pt x="152" y="673"/>
                  </a:lnTo>
                  <a:lnTo>
                    <a:pt x="172" y="659"/>
                  </a:lnTo>
                  <a:lnTo>
                    <a:pt x="195" y="648"/>
                  </a:lnTo>
                  <a:lnTo>
                    <a:pt x="220" y="645"/>
                  </a:lnTo>
                  <a:lnTo>
                    <a:pt x="1028" y="645"/>
                  </a:lnTo>
                  <a:lnTo>
                    <a:pt x="1037" y="643"/>
                  </a:lnTo>
                  <a:lnTo>
                    <a:pt x="1043" y="638"/>
                  </a:lnTo>
                  <a:lnTo>
                    <a:pt x="1046" y="631"/>
                  </a:lnTo>
                  <a:lnTo>
                    <a:pt x="1047" y="623"/>
                  </a:lnTo>
                  <a:lnTo>
                    <a:pt x="1048" y="616"/>
                  </a:lnTo>
                  <a:lnTo>
                    <a:pt x="1048" y="612"/>
                  </a:lnTo>
                  <a:lnTo>
                    <a:pt x="1048" y="610"/>
                  </a:lnTo>
                  <a:lnTo>
                    <a:pt x="1048" y="218"/>
                  </a:lnTo>
                  <a:lnTo>
                    <a:pt x="1048" y="217"/>
                  </a:lnTo>
                  <a:lnTo>
                    <a:pt x="1048" y="216"/>
                  </a:lnTo>
                  <a:lnTo>
                    <a:pt x="1048" y="213"/>
                  </a:lnTo>
                  <a:lnTo>
                    <a:pt x="1047" y="211"/>
                  </a:lnTo>
                  <a:lnTo>
                    <a:pt x="1046" y="209"/>
                  </a:lnTo>
                  <a:lnTo>
                    <a:pt x="1044" y="206"/>
                  </a:lnTo>
                  <a:lnTo>
                    <a:pt x="1041" y="204"/>
                  </a:lnTo>
                  <a:lnTo>
                    <a:pt x="1037" y="203"/>
                  </a:lnTo>
                  <a:lnTo>
                    <a:pt x="1032" y="203"/>
                  </a:lnTo>
                  <a:lnTo>
                    <a:pt x="1015" y="200"/>
                  </a:lnTo>
                  <a:lnTo>
                    <a:pt x="1002" y="193"/>
                  </a:lnTo>
                  <a:lnTo>
                    <a:pt x="989" y="180"/>
                  </a:lnTo>
                  <a:lnTo>
                    <a:pt x="982" y="165"/>
                  </a:lnTo>
                  <a:lnTo>
                    <a:pt x="979" y="149"/>
                  </a:lnTo>
                  <a:lnTo>
                    <a:pt x="979" y="53"/>
                  </a:lnTo>
                  <a:lnTo>
                    <a:pt x="982" y="36"/>
                  </a:lnTo>
                  <a:lnTo>
                    <a:pt x="989" y="21"/>
                  </a:lnTo>
                  <a:lnTo>
                    <a:pt x="1002" y="10"/>
                  </a:lnTo>
                  <a:lnTo>
                    <a:pt x="1015" y="2"/>
                  </a:lnTo>
                  <a:lnTo>
                    <a:pt x="1032" y="0"/>
                  </a:lnTo>
                  <a:close/>
                </a:path>
              </a:pathLst>
            </a:custGeom>
            <a:solidFill>
              <a:srgbClr val="024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                 </a:t>
              </a:r>
            </a:p>
          </p:txBody>
        </p:sp>
        <p:sp>
          <p:nvSpPr>
            <p:cNvPr id="470" name="Rectangle 469">
              <a:extLst>
                <a:ext uri="{FF2B5EF4-FFF2-40B4-BE49-F238E27FC236}">
                  <a16:creationId xmlns:a16="http://schemas.microsoft.com/office/drawing/2014/main" id="{2208364B-F33F-42ED-8656-629172E3AB3A}"/>
                </a:ext>
              </a:extLst>
            </p:cNvPr>
            <p:cNvSpPr/>
            <p:nvPr/>
          </p:nvSpPr>
          <p:spPr>
            <a:xfrm>
              <a:off x="1501082" y="5575749"/>
              <a:ext cx="3719691" cy="2124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02467C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Cape Town, South Africa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02467C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Southern Africa Office</a:t>
              </a:r>
            </a:p>
          </p:txBody>
        </p:sp>
        <p:sp>
          <p:nvSpPr>
            <p:cNvPr id="471" name="Oval 470">
              <a:extLst>
                <a:ext uri="{FF2B5EF4-FFF2-40B4-BE49-F238E27FC236}">
                  <a16:creationId xmlns:a16="http://schemas.microsoft.com/office/drawing/2014/main" id="{325F528F-0385-4B96-A16C-BD8A1BC426CE}"/>
                </a:ext>
              </a:extLst>
            </p:cNvPr>
            <p:cNvSpPr/>
            <p:nvPr/>
          </p:nvSpPr>
          <p:spPr>
            <a:xfrm>
              <a:off x="5941955" y="5218376"/>
              <a:ext cx="113580" cy="112704"/>
            </a:xfrm>
            <a:prstGeom prst="ellipse">
              <a:avLst/>
            </a:prstGeom>
            <a:solidFill>
              <a:srgbClr val="02467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508" name="Rectangle 507">
              <a:extLst>
                <a:ext uri="{FF2B5EF4-FFF2-40B4-BE49-F238E27FC236}">
                  <a16:creationId xmlns:a16="http://schemas.microsoft.com/office/drawing/2014/main" id="{FA7252D8-D8A6-4453-B862-FFBEFBB6CFB7}"/>
                </a:ext>
              </a:extLst>
            </p:cNvPr>
            <p:cNvSpPr/>
            <p:nvPr/>
          </p:nvSpPr>
          <p:spPr>
            <a:xfrm>
              <a:off x="2229821" y="5278248"/>
              <a:ext cx="2990952" cy="2231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De Aar |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50 MWp</a:t>
              </a:r>
            </a:p>
          </p:txBody>
        </p:sp>
        <p:sp>
          <p:nvSpPr>
            <p:cNvPr id="509" name="Oval 508">
              <a:extLst>
                <a:ext uri="{FF2B5EF4-FFF2-40B4-BE49-F238E27FC236}">
                  <a16:creationId xmlns:a16="http://schemas.microsoft.com/office/drawing/2014/main" id="{155F7431-C5D1-47BF-864A-CFCEB0303C48}"/>
                </a:ext>
              </a:extLst>
            </p:cNvPr>
            <p:cNvSpPr/>
            <p:nvPr/>
          </p:nvSpPr>
          <p:spPr>
            <a:xfrm>
              <a:off x="6114882" y="5059301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pic>
          <p:nvPicPr>
            <p:cNvPr id="507" name="Picture 506" descr="A picture containing light&#10;&#10;Description automatically generated">
              <a:extLst>
                <a:ext uri="{FF2B5EF4-FFF2-40B4-BE49-F238E27FC236}">
                  <a16:creationId xmlns:a16="http://schemas.microsoft.com/office/drawing/2014/main" id="{E7EA5B20-7046-47F2-AA61-83706E2A83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1681" y="5212842"/>
              <a:ext cx="378601" cy="375679"/>
            </a:xfrm>
            <a:prstGeom prst="rect">
              <a:avLst/>
            </a:prstGeom>
          </p:spPr>
        </p:pic>
        <p:sp>
          <p:nvSpPr>
            <p:cNvPr id="515" name="Rectangle 514">
              <a:extLst>
                <a:ext uri="{FF2B5EF4-FFF2-40B4-BE49-F238E27FC236}">
                  <a16:creationId xmlns:a16="http://schemas.microsoft.com/office/drawing/2014/main" id="{F9400A06-407D-478F-BF95-65D0B8115890}"/>
                </a:ext>
              </a:extLst>
            </p:cNvPr>
            <p:cNvSpPr/>
            <p:nvPr/>
          </p:nvSpPr>
          <p:spPr>
            <a:xfrm>
              <a:off x="2229821" y="4385744"/>
              <a:ext cx="2990952" cy="2231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Droogfontein |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50 </a:t>
              </a:r>
              <a:r>
                <a:rPr kumimoji="0" lang="en-ZA" sz="113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Wp</a:t>
              </a:r>
              <a:endParaRPr kumimoji="0" lang="en-ZA" sz="1133" b="0" i="0" u="none" strike="noStrike" kern="1200" cap="none" spc="0" normalizeH="0" baseline="0" noProof="0" dirty="0">
                <a:ln>
                  <a:noFill/>
                </a:ln>
                <a:solidFill>
                  <a:srgbClr val="F498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516" name="Oval 515">
              <a:extLst>
                <a:ext uri="{FF2B5EF4-FFF2-40B4-BE49-F238E27FC236}">
                  <a16:creationId xmlns:a16="http://schemas.microsoft.com/office/drawing/2014/main" id="{9C75F21B-A72C-4BFA-A06B-204B0530F1BC}"/>
                </a:ext>
              </a:extLst>
            </p:cNvPr>
            <p:cNvSpPr/>
            <p:nvPr/>
          </p:nvSpPr>
          <p:spPr>
            <a:xfrm>
              <a:off x="6187265" y="5018032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pic>
          <p:nvPicPr>
            <p:cNvPr id="514" name="Picture 513" descr="A picture containing light&#10;&#10;Description automatically generated">
              <a:extLst>
                <a:ext uri="{FF2B5EF4-FFF2-40B4-BE49-F238E27FC236}">
                  <a16:creationId xmlns:a16="http://schemas.microsoft.com/office/drawing/2014/main" id="{C18AE51F-2656-4E71-961B-C829D0864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1681" y="4310866"/>
              <a:ext cx="378601" cy="375679"/>
            </a:xfrm>
            <a:prstGeom prst="rect">
              <a:avLst/>
            </a:prstGeom>
          </p:spPr>
        </p:pic>
        <p:cxnSp>
          <p:nvCxnSpPr>
            <p:cNvPr id="512" name="Connector: Elbow 511">
              <a:extLst>
                <a:ext uri="{FF2B5EF4-FFF2-40B4-BE49-F238E27FC236}">
                  <a16:creationId xmlns:a16="http://schemas.microsoft.com/office/drawing/2014/main" id="{3CB14324-CDB6-4D91-AA30-2C0C91FF0A17}"/>
                </a:ext>
              </a:extLst>
            </p:cNvPr>
            <p:cNvCxnSpPr>
              <a:cxnSpLocks/>
              <a:stCxn id="516" idx="0"/>
              <a:endCxn id="514" idx="3"/>
            </p:cNvCxnSpPr>
            <p:nvPr/>
          </p:nvCxnSpPr>
          <p:spPr>
            <a:xfrm rot="16200000" flipV="1">
              <a:off x="5612506" y="4386483"/>
              <a:ext cx="519328" cy="743774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17" name="Picture 516">
              <a:extLst>
                <a:ext uri="{FF2B5EF4-FFF2-40B4-BE49-F238E27FC236}">
                  <a16:creationId xmlns:a16="http://schemas.microsoft.com/office/drawing/2014/main" id="{76784638-383D-4BE3-AD1B-EE85A4C21A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89632" y="5746667"/>
              <a:ext cx="260447" cy="268375"/>
            </a:xfrm>
            <a:prstGeom prst="rect">
              <a:avLst/>
            </a:prstGeom>
          </p:spPr>
        </p:pic>
        <p:cxnSp>
          <p:nvCxnSpPr>
            <p:cNvPr id="527" name="Connector: Elbow 526">
              <a:extLst>
                <a:ext uri="{FF2B5EF4-FFF2-40B4-BE49-F238E27FC236}">
                  <a16:creationId xmlns:a16="http://schemas.microsoft.com/office/drawing/2014/main" id="{1E167A87-A2D0-46B0-8D98-BB46CD6A959B}"/>
                </a:ext>
              </a:extLst>
            </p:cNvPr>
            <p:cNvCxnSpPr>
              <a:cxnSpLocks/>
              <a:stCxn id="509" idx="2"/>
              <a:endCxn id="507" idx="3"/>
            </p:cNvCxnSpPr>
            <p:nvPr/>
          </p:nvCxnSpPr>
          <p:spPr>
            <a:xfrm rot="10800000" flipV="1">
              <a:off x="5500284" y="5115652"/>
              <a:ext cx="614599" cy="28502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0" name="Rectangle 539">
              <a:extLst>
                <a:ext uri="{FF2B5EF4-FFF2-40B4-BE49-F238E27FC236}">
                  <a16:creationId xmlns:a16="http://schemas.microsoft.com/office/drawing/2014/main" id="{FA5713EC-0BD9-4E39-A483-3D4C6C7225F2}"/>
                </a:ext>
              </a:extLst>
            </p:cNvPr>
            <p:cNvSpPr/>
            <p:nvPr/>
          </p:nvSpPr>
          <p:spPr>
            <a:xfrm>
              <a:off x="2229821" y="4980747"/>
              <a:ext cx="2990952" cy="2231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Konkoonsies |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1 MWp</a:t>
              </a:r>
            </a:p>
          </p:txBody>
        </p:sp>
        <p:sp>
          <p:nvSpPr>
            <p:cNvPr id="541" name="Oval 540">
              <a:extLst>
                <a:ext uri="{FF2B5EF4-FFF2-40B4-BE49-F238E27FC236}">
                  <a16:creationId xmlns:a16="http://schemas.microsoft.com/office/drawing/2014/main" id="{A0197264-0681-4A6A-9366-DE53B413747B}"/>
                </a:ext>
              </a:extLst>
            </p:cNvPr>
            <p:cNvSpPr/>
            <p:nvPr/>
          </p:nvSpPr>
          <p:spPr>
            <a:xfrm>
              <a:off x="5916634" y="5003684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cxnSp>
          <p:nvCxnSpPr>
            <p:cNvPr id="542" name="Connector: Elbow 541">
              <a:extLst>
                <a:ext uri="{FF2B5EF4-FFF2-40B4-BE49-F238E27FC236}">
                  <a16:creationId xmlns:a16="http://schemas.microsoft.com/office/drawing/2014/main" id="{12ED52AE-2115-4209-89A5-D2495B602E80}"/>
                </a:ext>
              </a:extLst>
            </p:cNvPr>
            <p:cNvCxnSpPr>
              <a:cxnSpLocks/>
              <a:stCxn id="541" idx="2"/>
              <a:endCxn id="561" idx="3"/>
            </p:cNvCxnSpPr>
            <p:nvPr/>
          </p:nvCxnSpPr>
          <p:spPr>
            <a:xfrm rot="10800000" flipV="1">
              <a:off x="5500284" y="5060035"/>
              <a:ext cx="416351" cy="42340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5" name="Oval 544">
              <a:extLst>
                <a:ext uri="{FF2B5EF4-FFF2-40B4-BE49-F238E27FC236}">
                  <a16:creationId xmlns:a16="http://schemas.microsoft.com/office/drawing/2014/main" id="{75CB9872-E34D-4148-86EE-F9863A6772A2}"/>
                </a:ext>
              </a:extLst>
            </p:cNvPr>
            <p:cNvSpPr/>
            <p:nvPr/>
          </p:nvSpPr>
          <p:spPr>
            <a:xfrm>
              <a:off x="5998469" y="4975706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546" name="Rectangle 545">
              <a:extLst>
                <a:ext uri="{FF2B5EF4-FFF2-40B4-BE49-F238E27FC236}">
                  <a16:creationId xmlns:a16="http://schemas.microsoft.com/office/drawing/2014/main" id="{6DC68A1E-C97D-478A-B5F9-CF8AE2946FF6}"/>
                </a:ext>
              </a:extLst>
            </p:cNvPr>
            <p:cNvSpPr/>
            <p:nvPr/>
          </p:nvSpPr>
          <p:spPr>
            <a:xfrm>
              <a:off x="2229821" y="4683246"/>
              <a:ext cx="2990952" cy="2231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Aries |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1 </a:t>
              </a:r>
              <a:r>
                <a:rPr kumimoji="0" lang="en-ZA" sz="113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Wp</a:t>
              </a:r>
              <a:endParaRPr kumimoji="0" lang="en-ZA" sz="1133" b="0" i="0" u="none" strike="noStrike" kern="1200" cap="none" spc="0" normalizeH="0" baseline="0" noProof="0" dirty="0">
                <a:ln>
                  <a:noFill/>
                </a:ln>
                <a:solidFill>
                  <a:srgbClr val="F498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cxnSp>
          <p:nvCxnSpPr>
            <p:cNvPr id="547" name="Connector: Elbow 546">
              <a:extLst>
                <a:ext uri="{FF2B5EF4-FFF2-40B4-BE49-F238E27FC236}">
                  <a16:creationId xmlns:a16="http://schemas.microsoft.com/office/drawing/2014/main" id="{A7F51A2E-FCF1-4641-BE70-A1AA29248DCA}"/>
                </a:ext>
              </a:extLst>
            </p:cNvPr>
            <p:cNvCxnSpPr>
              <a:cxnSpLocks/>
              <a:stCxn id="545" idx="0"/>
              <a:endCxn id="560" idx="3"/>
            </p:cNvCxnSpPr>
            <p:nvPr/>
          </p:nvCxnSpPr>
          <p:spPr>
            <a:xfrm rot="16200000" flipV="1">
              <a:off x="5690045" y="4610490"/>
              <a:ext cx="175456" cy="554978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0" name="Picture 559" descr="A picture containing light&#10;&#10;Description automatically generated">
              <a:extLst>
                <a:ext uri="{FF2B5EF4-FFF2-40B4-BE49-F238E27FC236}">
                  <a16:creationId xmlns:a16="http://schemas.microsoft.com/office/drawing/2014/main" id="{8D98E160-4093-4926-9579-C1A28BAC9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1681" y="4612411"/>
              <a:ext cx="378601" cy="375679"/>
            </a:xfrm>
            <a:prstGeom prst="rect">
              <a:avLst/>
            </a:prstGeom>
          </p:spPr>
        </p:pic>
        <p:pic>
          <p:nvPicPr>
            <p:cNvPr id="561" name="Picture 560" descr="A picture containing light&#10;&#10;Description automatically generated">
              <a:extLst>
                <a:ext uri="{FF2B5EF4-FFF2-40B4-BE49-F238E27FC236}">
                  <a16:creationId xmlns:a16="http://schemas.microsoft.com/office/drawing/2014/main" id="{C2D3A266-EEAE-4700-8BB1-2E4F39C630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1681" y="4914537"/>
              <a:ext cx="378601" cy="375679"/>
            </a:xfrm>
            <a:prstGeom prst="rect">
              <a:avLst/>
            </a:prstGeom>
          </p:spPr>
        </p:pic>
        <p:grpSp>
          <p:nvGrpSpPr>
            <p:cNvPr id="562" name="Group 561">
              <a:extLst>
                <a:ext uri="{FF2B5EF4-FFF2-40B4-BE49-F238E27FC236}">
                  <a16:creationId xmlns:a16="http://schemas.microsoft.com/office/drawing/2014/main" id="{A6E885B2-A06C-4706-B0D7-EB4A805BD784}"/>
                </a:ext>
              </a:extLst>
            </p:cNvPr>
            <p:cNvGrpSpPr/>
            <p:nvPr/>
          </p:nvGrpSpPr>
          <p:grpSpPr>
            <a:xfrm>
              <a:off x="6346743" y="4354107"/>
              <a:ext cx="4246426" cy="482560"/>
              <a:chOff x="5933428" y="5680723"/>
              <a:chExt cx="4037791" cy="462420"/>
            </a:xfrm>
          </p:grpSpPr>
          <p:grpSp>
            <p:nvGrpSpPr>
              <p:cNvPr id="563" name="Group 562">
                <a:extLst>
                  <a:ext uri="{FF2B5EF4-FFF2-40B4-BE49-F238E27FC236}">
                    <a16:creationId xmlns:a16="http://schemas.microsoft.com/office/drawing/2014/main" id="{ED99F323-D613-4BAB-84CD-671E37E74BE3}"/>
                  </a:ext>
                </a:extLst>
              </p:cNvPr>
              <p:cNvGrpSpPr/>
              <p:nvPr/>
            </p:nvGrpSpPr>
            <p:grpSpPr>
              <a:xfrm>
                <a:off x="5933428" y="5743490"/>
                <a:ext cx="4037791" cy="399653"/>
                <a:chOff x="5936390" y="5714781"/>
                <a:chExt cx="4037791" cy="399653"/>
              </a:xfrm>
            </p:grpSpPr>
            <p:sp>
              <p:nvSpPr>
                <p:cNvPr id="565" name="Rectangle 564">
                  <a:extLst>
                    <a:ext uri="{FF2B5EF4-FFF2-40B4-BE49-F238E27FC236}">
                      <a16:creationId xmlns:a16="http://schemas.microsoft.com/office/drawing/2014/main" id="{EF3BD1E5-BAFF-4390-8F1E-3794820FE5F1}"/>
                    </a:ext>
                  </a:extLst>
                </p:cNvPr>
                <p:cNvSpPr/>
                <p:nvPr/>
              </p:nvSpPr>
              <p:spPr>
                <a:xfrm>
                  <a:off x="7346181" y="5714781"/>
                  <a:ext cx="2628000" cy="21385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ZA" sz="11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Soutpan | </a:t>
                  </a:r>
                  <a:r>
                    <a:rPr kumimoji="0" lang="en-ZA" sz="113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31 </a:t>
                  </a:r>
                  <a:r>
                    <a:rPr kumimoji="0" lang="en-ZA" sz="1133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MWp</a:t>
                  </a:r>
                  <a:endPara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9800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  <p:sp>
              <p:nvSpPr>
                <p:cNvPr id="566" name="Oval 565">
                  <a:extLst>
                    <a:ext uri="{FF2B5EF4-FFF2-40B4-BE49-F238E27FC236}">
                      <a16:creationId xmlns:a16="http://schemas.microsoft.com/office/drawing/2014/main" id="{7BB15AA3-44AC-48A8-8EE3-E280039B53EF}"/>
                    </a:ext>
                  </a:extLst>
                </p:cNvPr>
                <p:cNvSpPr/>
                <p:nvPr/>
              </p:nvSpPr>
              <p:spPr>
                <a:xfrm>
                  <a:off x="5936390" y="6006434"/>
                  <a:ext cx="108000" cy="108000"/>
                </a:xfrm>
                <a:prstGeom prst="ellipse">
                  <a:avLst/>
                </a:prstGeom>
                <a:solidFill>
                  <a:srgbClr val="F8992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564" name="Picture 563" descr="A picture containing light&#10;&#10;Description automatically generated">
                <a:extLst>
                  <a:ext uri="{FF2B5EF4-FFF2-40B4-BE49-F238E27FC236}">
                    <a16:creationId xmlns:a16="http://schemas.microsoft.com/office/drawing/2014/main" id="{5D5A7D65-5AEC-4867-8B59-54CB10B1CF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91433" y="5680723"/>
                <a:ext cx="360000" cy="360000"/>
              </a:xfrm>
              <a:prstGeom prst="rect">
                <a:avLst/>
              </a:prstGeom>
            </p:spPr>
          </p:pic>
        </p:grpSp>
        <p:cxnSp>
          <p:nvCxnSpPr>
            <p:cNvPr id="567" name="Connector: Elbow 566">
              <a:extLst>
                <a:ext uri="{FF2B5EF4-FFF2-40B4-BE49-F238E27FC236}">
                  <a16:creationId xmlns:a16="http://schemas.microsoft.com/office/drawing/2014/main" id="{5CBFC351-E7A8-4222-9CB0-07A929D5D943}"/>
                </a:ext>
              </a:extLst>
            </p:cNvPr>
            <p:cNvCxnSpPr>
              <a:cxnSpLocks/>
              <a:stCxn id="566" idx="0"/>
              <a:endCxn id="564" idx="1"/>
            </p:cNvCxnSpPr>
            <p:nvPr/>
          </p:nvCxnSpPr>
          <p:spPr>
            <a:xfrm rot="5400000" flipH="1" flipV="1">
              <a:off x="6840466" y="4105014"/>
              <a:ext cx="182016" cy="1055883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8" name="Connector: Elbow 577">
              <a:extLst>
                <a:ext uri="{FF2B5EF4-FFF2-40B4-BE49-F238E27FC236}">
                  <a16:creationId xmlns:a16="http://schemas.microsoft.com/office/drawing/2014/main" id="{32432EDA-EC4E-4DF3-A417-337AEFDC448D}"/>
                </a:ext>
              </a:extLst>
            </p:cNvPr>
            <p:cNvCxnSpPr>
              <a:cxnSpLocks/>
              <a:stCxn id="577" idx="6"/>
              <a:endCxn id="502" idx="1"/>
            </p:cNvCxnSpPr>
            <p:nvPr/>
          </p:nvCxnSpPr>
          <p:spPr>
            <a:xfrm>
              <a:off x="7066969" y="3894567"/>
              <a:ext cx="704291" cy="398315"/>
            </a:xfrm>
            <a:prstGeom prst="bentConnector3">
              <a:avLst>
                <a:gd name="adj1" fmla="val 32455"/>
              </a:avLst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9" name="Rectangle 578">
              <a:extLst>
                <a:ext uri="{FF2B5EF4-FFF2-40B4-BE49-F238E27FC236}">
                  <a16:creationId xmlns:a16="http://schemas.microsoft.com/office/drawing/2014/main" id="{8B649252-DB0E-4476-BE68-C37735F9B793}"/>
                </a:ext>
              </a:extLst>
            </p:cNvPr>
            <p:cNvSpPr/>
            <p:nvPr/>
          </p:nvSpPr>
          <p:spPr>
            <a:xfrm>
              <a:off x="8049759" y="3655600"/>
              <a:ext cx="2763791" cy="2231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Tsavo |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75 MW</a:t>
              </a:r>
            </a:p>
          </p:txBody>
        </p:sp>
        <p:sp>
          <p:nvSpPr>
            <p:cNvPr id="580" name="Oval 579">
              <a:extLst>
                <a:ext uri="{FF2B5EF4-FFF2-40B4-BE49-F238E27FC236}">
                  <a16:creationId xmlns:a16="http://schemas.microsoft.com/office/drawing/2014/main" id="{13BC6468-8803-4D42-86EE-E7477B155BB5}"/>
                </a:ext>
              </a:extLst>
            </p:cNvPr>
            <p:cNvSpPr/>
            <p:nvPr/>
          </p:nvSpPr>
          <p:spPr>
            <a:xfrm>
              <a:off x="7020452" y="3633746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582" name="Group 581">
              <a:extLst>
                <a:ext uri="{FF2B5EF4-FFF2-40B4-BE49-F238E27FC236}">
                  <a16:creationId xmlns:a16="http://schemas.microsoft.com/office/drawing/2014/main" id="{2B57E2A2-7776-4277-841B-541FB35A0EEF}"/>
                </a:ext>
              </a:extLst>
            </p:cNvPr>
            <p:cNvGrpSpPr/>
            <p:nvPr/>
          </p:nvGrpSpPr>
          <p:grpSpPr>
            <a:xfrm>
              <a:off x="6958829" y="3781990"/>
              <a:ext cx="3853519" cy="380087"/>
              <a:chOff x="5942807" y="5425768"/>
              <a:chExt cx="3664187" cy="364224"/>
            </a:xfrm>
          </p:grpSpPr>
          <p:sp>
            <p:nvSpPr>
              <p:cNvPr id="583" name="Freeform 51">
                <a:extLst>
                  <a:ext uri="{FF2B5EF4-FFF2-40B4-BE49-F238E27FC236}">
                    <a16:creationId xmlns:a16="http://schemas.microsoft.com/office/drawing/2014/main" id="{32FA2F8C-77E9-4B80-BAE2-FCEEF79F6B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908" y="5581901"/>
                <a:ext cx="180000" cy="180000"/>
              </a:xfrm>
              <a:custGeom>
                <a:avLst/>
                <a:gdLst>
                  <a:gd name="T0" fmla="*/ 1613 w 3750"/>
                  <a:gd name="T1" fmla="*/ 2844 h 3108"/>
                  <a:gd name="T2" fmla="*/ 2171 w 3750"/>
                  <a:gd name="T3" fmla="*/ 2883 h 3108"/>
                  <a:gd name="T4" fmla="*/ 2184 w 3750"/>
                  <a:gd name="T5" fmla="*/ 2315 h 3108"/>
                  <a:gd name="T6" fmla="*/ 2893 w 3750"/>
                  <a:gd name="T7" fmla="*/ 2222 h 3108"/>
                  <a:gd name="T8" fmla="*/ 2907 w 3750"/>
                  <a:gd name="T9" fmla="*/ 2615 h 3108"/>
                  <a:gd name="T10" fmla="*/ 3288 w 3750"/>
                  <a:gd name="T11" fmla="*/ 2575 h 3108"/>
                  <a:gd name="T12" fmla="*/ 2924 w 3750"/>
                  <a:gd name="T13" fmla="*/ 2210 h 3108"/>
                  <a:gd name="T14" fmla="*/ 460 w 3750"/>
                  <a:gd name="T15" fmla="*/ 2575 h 3108"/>
                  <a:gd name="T16" fmla="*/ 841 w 3750"/>
                  <a:gd name="T17" fmla="*/ 2615 h 3108"/>
                  <a:gd name="T18" fmla="*/ 855 w 3750"/>
                  <a:gd name="T19" fmla="*/ 2222 h 3108"/>
                  <a:gd name="T20" fmla="*/ 2893 w 3750"/>
                  <a:gd name="T21" fmla="*/ 1677 h 3108"/>
                  <a:gd name="T22" fmla="*/ 2907 w 3750"/>
                  <a:gd name="T23" fmla="*/ 2069 h 3108"/>
                  <a:gd name="T24" fmla="*/ 3288 w 3750"/>
                  <a:gd name="T25" fmla="*/ 2029 h 3108"/>
                  <a:gd name="T26" fmla="*/ 2924 w 3750"/>
                  <a:gd name="T27" fmla="*/ 1665 h 3108"/>
                  <a:gd name="T28" fmla="*/ 460 w 3750"/>
                  <a:gd name="T29" fmla="*/ 2029 h 3108"/>
                  <a:gd name="T30" fmla="*/ 841 w 3750"/>
                  <a:gd name="T31" fmla="*/ 2069 h 3108"/>
                  <a:gd name="T32" fmla="*/ 855 w 3750"/>
                  <a:gd name="T33" fmla="*/ 1677 h 3108"/>
                  <a:gd name="T34" fmla="*/ 2076 w 3750"/>
                  <a:gd name="T35" fmla="*/ 1667 h 3108"/>
                  <a:gd name="T36" fmla="*/ 2090 w 3750"/>
                  <a:gd name="T37" fmla="*/ 2059 h 3108"/>
                  <a:gd name="T38" fmla="*/ 2471 w 3750"/>
                  <a:gd name="T39" fmla="*/ 2020 h 3108"/>
                  <a:gd name="T40" fmla="*/ 2107 w 3750"/>
                  <a:gd name="T41" fmla="*/ 1654 h 3108"/>
                  <a:gd name="T42" fmla="*/ 1332 w 3750"/>
                  <a:gd name="T43" fmla="*/ 2020 h 3108"/>
                  <a:gd name="T44" fmla="*/ 1713 w 3750"/>
                  <a:gd name="T45" fmla="*/ 2059 h 3108"/>
                  <a:gd name="T46" fmla="*/ 1726 w 3750"/>
                  <a:gd name="T47" fmla="*/ 1667 h 3108"/>
                  <a:gd name="T48" fmla="*/ 2076 w 3750"/>
                  <a:gd name="T49" fmla="*/ 1121 h 3108"/>
                  <a:gd name="T50" fmla="*/ 2090 w 3750"/>
                  <a:gd name="T51" fmla="*/ 1514 h 3108"/>
                  <a:gd name="T52" fmla="*/ 2471 w 3750"/>
                  <a:gd name="T53" fmla="*/ 1474 h 3108"/>
                  <a:gd name="T54" fmla="*/ 2107 w 3750"/>
                  <a:gd name="T55" fmla="*/ 1109 h 3108"/>
                  <a:gd name="T56" fmla="*/ 1332 w 3750"/>
                  <a:gd name="T57" fmla="*/ 1474 h 3108"/>
                  <a:gd name="T58" fmla="*/ 1713 w 3750"/>
                  <a:gd name="T59" fmla="*/ 1514 h 3108"/>
                  <a:gd name="T60" fmla="*/ 1726 w 3750"/>
                  <a:gd name="T61" fmla="*/ 1121 h 3108"/>
                  <a:gd name="T62" fmla="*/ 2893 w 3750"/>
                  <a:gd name="T63" fmla="*/ 1112 h 3108"/>
                  <a:gd name="T64" fmla="*/ 2907 w 3750"/>
                  <a:gd name="T65" fmla="*/ 1504 h 3108"/>
                  <a:gd name="T66" fmla="*/ 3288 w 3750"/>
                  <a:gd name="T67" fmla="*/ 1465 h 3108"/>
                  <a:gd name="T68" fmla="*/ 2924 w 3750"/>
                  <a:gd name="T69" fmla="*/ 1099 h 3108"/>
                  <a:gd name="T70" fmla="*/ 460 w 3750"/>
                  <a:gd name="T71" fmla="*/ 1465 h 3108"/>
                  <a:gd name="T72" fmla="*/ 841 w 3750"/>
                  <a:gd name="T73" fmla="*/ 1504 h 3108"/>
                  <a:gd name="T74" fmla="*/ 855 w 3750"/>
                  <a:gd name="T75" fmla="*/ 1112 h 3108"/>
                  <a:gd name="T76" fmla="*/ 2076 w 3750"/>
                  <a:gd name="T77" fmla="*/ 557 h 3108"/>
                  <a:gd name="T78" fmla="*/ 2090 w 3750"/>
                  <a:gd name="T79" fmla="*/ 949 h 3108"/>
                  <a:gd name="T80" fmla="*/ 2471 w 3750"/>
                  <a:gd name="T81" fmla="*/ 909 h 3108"/>
                  <a:gd name="T82" fmla="*/ 2107 w 3750"/>
                  <a:gd name="T83" fmla="*/ 544 h 3108"/>
                  <a:gd name="T84" fmla="*/ 1332 w 3750"/>
                  <a:gd name="T85" fmla="*/ 909 h 3108"/>
                  <a:gd name="T86" fmla="*/ 1713 w 3750"/>
                  <a:gd name="T87" fmla="*/ 949 h 3108"/>
                  <a:gd name="T88" fmla="*/ 1726 w 3750"/>
                  <a:gd name="T89" fmla="*/ 557 h 3108"/>
                  <a:gd name="T90" fmla="*/ 2787 w 3750"/>
                  <a:gd name="T91" fmla="*/ 2 h 3108"/>
                  <a:gd name="T92" fmla="*/ 2820 w 3750"/>
                  <a:gd name="T93" fmla="*/ 165 h 3108"/>
                  <a:gd name="T94" fmla="*/ 2761 w 3750"/>
                  <a:gd name="T95" fmla="*/ 204 h 3108"/>
                  <a:gd name="T96" fmla="*/ 2754 w 3750"/>
                  <a:gd name="T97" fmla="*/ 620 h 3108"/>
                  <a:gd name="T98" fmla="*/ 2779 w 3750"/>
                  <a:gd name="T99" fmla="*/ 645 h 3108"/>
                  <a:gd name="T100" fmla="*/ 3621 w 3750"/>
                  <a:gd name="T101" fmla="*/ 716 h 3108"/>
                  <a:gd name="T102" fmla="*/ 3629 w 3750"/>
                  <a:gd name="T103" fmla="*/ 2878 h 3108"/>
                  <a:gd name="T104" fmla="*/ 3728 w 3750"/>
                  <a:gd name="T105" fmla="*/ 2899 h 3108"/>
                  <a:gd name="T106" fmla="*/ 3739 w 3750"/>
                  <a:gd name="T107" fmla="*/ 3087 h 3108"/>
                  <a:gd name="T108" fmla="*/ 22 w 3750"/>
                  <a:gd name="T109" fmla="*/ 3098 h 3108"/>
                  <a:gd name="T110" fmla="*/ 10 w 3750"/>
                  <a:gd name="T111" fmla="*/ 2912 h 3108"/>
                  <a:gd name="T112" fmla="*/ 112 w 3750"/>
                  <a:gd name="T113" fmla="*/ 2887 h 3108"/>
                  <a:gd name="T114" fmla="*/ 137 w 3750"/>
                  <a:gd name="T115" fmla="*/ 693 h 3108"/>
                  <a:gd name="T116" fmla="*/ 1037 w 3750"/>
                  <a:gd name="T117" fmla="*/ 643 h 3108"/>
                  <a:gd name="T118" fmla="*/ 1048 w 3750"/>
                  <a:gd name="T119" fmla="*/ 610 h 3108"/>
                  <a:gd name="T120" fmla="*/ 1046 w 3750"/>
                  <a:gd name="T121" fmla="*/ 209 h 3108"/>
                  <a:gd name="T122" fmla="*/ 1002 w 3750"/>
                  <a:gd name="T123" fmla="*/ 193 h 3108"/>
                  <a:gd name="T124" fmla="*/ 989 w 3750"/>
                  <a:gd name="T125" fmla="*/ 21 h 3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50" h="3108">
                    <a:moveTo>
                      <a:pt x="1657" y="2302"/>
                    </a:moveTo>
                    <a:lnTo>
                      <a:pt x="1640" y="2305"/>
                    </a:lnTo>
                    <a:lnTo>
                      <a:pt x="1626" y="2315"/>
                    </a:lnTo>
                    <a:lnTo>
                      <a:pt x="1617" y="2328"/>
                    </a:lnTo>
                    <a:lnTo>
                      <a:pt x="1613" y="2345"/>
                    </a:lnTo>
                    <a:lnTo>
                      <a:pt x="1613" y="2844"/>
                    </a:lnTo>
                    <a:lnTo>
                      <a:pt x="1617" y="2860"/>
                    </a:lnTo>
                    <a:lnTo>
                      <a:pt x="1626" y="2874"/>
                    </a:lnTo>
                    <a:lnTo>
                      <a:pt x="1640" y="2883"/>
                    </a:lnTo>
                    <a:lnTo>
                      <a:pt x="1657" y="2887"/>
                    </a:lnTo>
                    <a:lnTo>
                      <a:pt x="2155" y="2887"/>
                    </a:lnTo>
                    <a:lnTo>
                      <a:pt x="2171" y="2883"/>
                    </a:lnTo>
                    <a:lnTo>
                      <a:pt x="2184" y="2874"/>
                    </a:lnTo>
                    <a:lnTo>
                      <a:pt x="2193" y="2860"/>
                    </a:lnTo>
                    <a:lnTo>
                      <a:pt x="2197" y="2844"/>
                    </a:lnTo>
                    <a:lnTo>
                      <a:pt x="2197" y="2345"/>
                    </a:lnTo>
                    <a:lnTo>
                      <a:pt x="2193" y="2328"/>
                    </a:lnTo>
                    <a:lnTo>
                      <a:pt x="2184" y="2315"/>
                    </a:lnTo>
                    <a:lnTo>
                      <a:pt x="2171" y="2305"/>
                    </a:lnTo>
                    <a:lnTo>
                      <a:pt x="2155" y="2302"/>
                    </a:lnTo>
                    <a:lnTo>
                      <a:pt x="1657" y="2302"/>
                    </a:lnTo>
                    <a:close/>
                    <a:moveTo>
                      <a:pt x="2924" y="2210"/>
                    </a:moveTo>
                    <a:lnTo>
                      <a:pt x="2907" y="2213"/>
                    </a:lnTo>
                    <a:lnTo>
                      <a:pt x="2893" y="2222"/>
                    </a:lnTo>
                    <a:lnTo>
                      <a:pt x="2884" y="2236"/>
                    </a:lnTo>
                    <a:lnTo>
                      <a:pt x="2880" y="2253"/>
                    </a:lnTo>
                    <a:lnTo>
                      <a:pt x="2880" y="2575"/>
                    </a:lnTo>
                    <a:lnTo>
                      <a:pt x="2884" y="2592"/>
                    </a:lnTo>
                    <a:lnTo>
                      <a:pt x="2893" y="2605"/>
                    </a:lnTo>
                    <a:lnTo>
                      <a:pt x="2907" y="2615"/>
                    </a:lnTo>
                    <a:lnTo>
                      <a:pt x="2924" y="2618"/>
                    </a:lnTo>
                    <a:lnTo>
                      <a:pt x="3245" y="2618"/>
                    </a:lnTo>
                    <a:lnTo>
                      <a:pt x="3262" y="2615"/>
                    </a:lnTo>
                    <a:lnTo>
                      <a:pt x="3276" y="2605"/>
                    </a:lnTo>
                    <a:lnTo>
                      <a:pt x="3285" y="2592"/>
                    </a:lnTo>
                    <a:lnTo>
                      <a:pt x="3288" y="2575"/>
                    </a:lnTo>
                    <a:lnTo>
                      <a:pt x="3288" y="2253"/>
                    </a:lnTo>
                    <a:lnTo>
                      <a:pt x="3285" y="2236"/>
                    </a:lnTo>
                    <a:lnTo>
                      <a:pt x="3276" y="2222"/>
                    </a:lnTo>
                    <a:lnTo>
                      <a:pt x="3262" y="2213"/>
                    </a:lnTo>
                    <a:lnTo>
                      <a:pt x="3245" y="2210"/>
                    </a:lnTo>
                    <a:lnTo>
                      <a:pt x="2924" y="2210"/>
                    </a:lnTo>
                    <a:close/>
                    <a:moveTo>
                      <a:pt x="502" y="2210"/>
                    </a:moveTo>
                    <a:lnTo>
                      <a:pt x="487" y="2213"/>
                    </a:lnTo>
                    <a:lnTo>
                      <a:pt x="473" y="2222"/>
                    </a:lnTo>
                    <a:lnTo>
                      <a:pt x="463" y="2236"/>
                    </a:lnTo>
                    <a:lnTo>
                      <a:pt x="460" y="2253"/>
                    </a:lnTo>
                    <a:lnTo>
                      <a:pt x="460" y="2575"/>
                    </a:lnTo>
                    <a:lnTo>
                      <a:pt x="463" y="2592"/>
                    </a:lnTo>
                    <a:lnTo>
                      <a:pt x="473" y="2605"/>
                    </a:lnTo>
                    <a:lnTo>
                      <a:pt x="487" y="2615"/>
                    </a:lnTo>
                    <a:lnTo>
                      <a:pt x="502" y="2618"/>
                    </a:lnTo>
                    <a:lnTo>
                      <a:pt x="824" y="2618"/>
                    </a:lnTo>
                    <a:lnTo>
                      <a:pt x="841" y="2615"/>
                    </a:lnTo>
                    <a:lnTo>
                      <a:pt x="855" y="2605"/>
                    </a:lnTo>
                    <a:lnTo>
                      <a:pt x="864" y="2592"/>
                    </a:lnTo>
                    <a:lnTo>
                      <a:pt x="867" y="2575"/>
                    </a:lnTo>
                    <a:lnTo>
                      <a:pt x="867" y="2253"/>
                    </a:lnTo>
                    <a:lnTo>
                      <a:pt x="864" y="2236"/>
                    </a:lnTo>
                    <a:lnTo>
                      <a:pt x="855" y="2222"/>
                    </a:lnTo>
                    <a:lnTo>
                      <a:pt x="841" y="2213"/>
                    </a:lnTo>
                    <a:lnTo>
                      <a:pt x="824" y="2210"/>
                    </a:lnTo>
                    <a:lnTo>
                      <a:pt x="502" y="2210"/>
                    </a:lnTo>
                    <a:close/>
                    <a:moveTo>
                      <a:pt x="2924" y="1665"/>
                    </a:moveTo>
                    <a:lnTo>
                      <a:pt x="2907" y="1668"/>
                    </a:lnTo>
                    <a:lnTo>
                      <a:pt x="2893" y="1677"/>
                    </a:lnTo>
                    <a:lnTo>
                      <a:pt x="2884" y="1691"/>
                    </a:lnTo>
                    <a:lnTo>
                      <a:pt x="2880" y="1707"/>
                    </a:lnTo>
                    <a:lnTo>
                      <a:pt x="2880" y="2029"/>
                    </a:lnTo>
                    <a:lnTo>
                      <a:pt x="2884" y="2046"/>
                    </a:lnTo>
                    <a:lnTo>
                      <a:pt x="2893" y="2060"/>
                    </a:lnTo>
                    <a:lnTo>
                      <a:pt x="2907" y="2069"/>
                    </a:lnTo>
                    <a:lnTo>
                      <a:pt x="2924" y="2072"/>
                    </a:lnTo>
                    <a:lnTo>
                      <a:pt x="3245" y="2072"/>
                    </a:lnTo>
                    <a:lnTo>
                      <a:pt x="3262" y="2069"/>
                    </a:lnTo>
                    <a:lnTo>
                      <a:pt x="3276" y="2060"/>
                    </a:lnTo>
                    <a:lnTo>
                      <a:pt x="3285" y="2046"/>
                    </a:lnTo>
                    <a:lnTo>
                      <a:pt x="3288" y="2029"/>
                    </a:lnTo>
                    <a:lnTo>
                      <a:pt x="3288" y="1707"/>
                    </a:lnTo>
                    <a:lnTo>
                      <a:pt x="3285" y="1691"/>
                    </a:lnTo>
                    <a:lnTo>
                      <a:pt x="3276" y="1677"/>
                    </a:lnTo>
                    <a:lnTo>
                      <a:pt x="3262" y="1668"/>
                    </a:lnTo>
                    <a:lnTo>
                      <a:pt x="3245" y="1665"/>
                    </a:lnTo>
                    <a:lnTo>
                      <a:pt x="2924" y="1665"/>
                    </a:lnTo>
                    <a:close/>
                    <a:moveTo>
                      <a:pt x="502" y="1665"/>
                    </a:moveTo>
                    <a:lnTo>
                      <a:pt x="487" y="1668"/>
                    </a:lnTo>
                    <a:lnTo>
                      <a:pt x="473" y="1677"/>
                    </a:lnTo>
                    <a:lnTo>
                      <a:pt x="463" y="1691"/>
                    </a:lnTo>
                    <a:lnTo>
                      <a:pt x="460" y="1707"/>
                    </a:lnTo>
                    <a:lnTo>
                      <a:pt x="460" y="2029"/>
                    </a:lnTo>
                    <a:lnTo>
                      <a:pt x="463" y="2046"/>
                    </a:lnTo>
                    <a:lnTo>
                      <a:pt x="473" y="2060"/>
                    </a:lnTo>
                    <a:lnTo>
                      <a:pt x="487" y="2069"/>
                    </a:lnTo>
                    <a:lnTo>
                      <a:pt x="502" y="2072"/>
                    </a:lnTo>
                    <a:lnTo>
                      <a:pt x="824" y="2072"/>
                    </a:lnTo>
                    <a:lnTo>
                      <a:pt x="841" y="2069"/>
                    </a:lnTo>
                    <a:lnTo>
                      <a:pt x="855" y="2060"/>
                    </a:lnTo>
                    <a:lnTo>
                      <a:pt x="864" y="2046"/>
                    </a:lnTo>
                    <a:lnTo>
                      <a:pt x="867" y="2029"/>
                    </a:lnTo>
                    <a:lnTo>
                      <a:pt x="867" y="1707"/>
                    </a:lnTo>
                    <a:lnTo>
                      <a:pt x="864" y="1691"/>
                    </a:lnTo>
                    <a:lnTo>
                      <a:pt x="855" y="1677"/>
                    </a:lnTo>
                    <a:lnTo>
                      <a:pt x="841" y="1668"/>
                    </a:lnTo>
                    <a:lnTo>
                      <a:pt x="824" y="1665"/>
                    </a:lnTo>
                    <a:lnTo>
                      <a:pt x="502" y="1665"/>
                    </a:lnTo>
                    <a:close/>
                    <a:moveTo>
                      <a:pt x="2107" y="1654"/>
                    </a:moveTo>
                    <a:lnTo>
                      <a:pt x="2090" y="1658"/>
                    </a:lnTo>
                    <a:lnTo>
                      <a:pt x="2076" y="1667"/>
                    </a:lnTo>
                    <a:lnTo>
                      <a:pt x="2067" y="1681"/>
                    </a:lnTo>
                    <a:lnTo>
                      <a:pt x="2063" y="1698"/>
                    </a:lnTo>
                    <a:lnTo>
                      <a:pt x="2063" y="2020"/>
                    </a:lnTo>
                    <a:lnTo>
                      <a:pt x="2067" y="2036"/>
                    </a:lnTo>
                    <a:lnTo>
                      <a:pt x="2076" y="2050"/>
                    </a:lnTo>
                    <a:lnTo>
                      <a:pt x="2090" y="2059"/>
                    </a:lnTo>
                    <a:lnTo>
                      <a:pt x="2107" y="2062"/>
                    </a:lnTo>
                    <a:lnTo>
                      <a:pt x="2428" y="2062"/>
                    </a:lnTo>
                    <a:lnTo>
                      <a:pt x="2445" y="2059"/>
                    </a:lnTo>
                    <a:lnTo>
                      <a:pt x="2458" y="2050"/>
                    </a:lnTo>
                    <a:lnTo>
                      <a:pt x="2468" y="2036"/>
                    </a:lnTo>
                    <a:lnTo>
                      <a:pt x="2471" y="2020"/>
                    </a:lnTo>
                    <a:lnTo>
                      <a:pt x="2471" y="1698"/>
                    </a:lnTo>
                    <a:lnTo>
                      <a:pt x="2468" y="1681"/>
                    </a:lnTo>
                    <a:lnTo>
                      <a:pt x="2458" y="1667"/>
                    </a:lnTo>
                    <a:lnTo>
                      <a:pt x="2445" y="1658"/>
                    </a:lnTo>
                    <a:lnTo>
                      <a:pt x="2428" y="1654"/>
                    </a:lnTo>
                    <a:lnTo>
                      <a:pt x="2107" y="1654"/>
                    </a:lnTo>
                    <a:close/>
                    <a:moveTo>
                      <a:pt x="1375" y="1654"/>
                    </a:moveTo>
                    <a:lnTo>
                      <a:pt x="1358" y="1658"/>
                    </a:lnTo>
                    <a:lnTo>
                      <a:pt x="1344" y="1667"/>
                    </a:lnTo>
                    <a:lnTo>
                      <a:pt x="1335" y="1681"/>
                    </a:lnTo>
                    <a:lnTo>
                      <a:pt x="1332" y="1698"/>
                    </a:lnTo>
                    <a:lnTo>
                      <a:pt x="1332" y="2020"/>
                    </a:lnTo>
                    <a:lnTo>
                      <a:pt x="1335" y="2036"/>
                    </a:lnTo>
                    <a:lnTo>
                      <a:pt x="1344" y="2050"/>
                    </a:lnTo>
                    <a:lnTo>
                      <a:pt x="1358" y="2059"/>
                    </a:lnTo>
                    <a:lnTo>
                      <a:pt x="1375" y="2062"/>
                    </a:lnTo>
                    <a:lnTo>
                      <a:pt x="1697" y="2062"/>
                    </a:lnTo>
                    <a:lnTo>
                      <a:pt x="1713" y="2059"/>
                    </a:lnTo>
                    <a:lnTo>
                      <a:pt x="1726" y="2050"/>
                    </a:lnTo>
                    <a:lnTo>
                      <a:pt x="1736" y="2036"/>
                    </a:lnTo>
                    <a:lnTo>
                      <a:pt x="1740" y="2020"/>
                    </a:lnTo>
                    <a:lnTo>
                      <a:pt x="1740" y="1698"/>
                    </a:lnTo>
                    <a:lnTo>
                      <a:pt x="1736" y="1681"/>
                    </a:lnTo>
                    <a:lnTo>
                      <a:pt x="1726" y="1667"/>
                    </a:lnTo>
                    <a:lnTo>
                      <a:pt x="1713" y="1658"/>
                    </a:lnTo>
                    <a:lnTo>
                      <a:pt x="1697" y="1654"/>
                    </a:lnTo>
                    <a:lnTo>
                      <a:pt x="1375" y="1654"/>
                    </a:lnTo>
                    <a:close/>
                    <a:moveTo>
                      <a:pt x="2107" y="1109"/>
                    </a:moveTo>
                    <a:lnTo>
                      <a:pt x="2090" y="1112"/>
                    </a:lnTo>
                    <a:lnTo>
                      <a:pt x="2076" y="1121"/>
                    </a:lnTo>
                    <a:lnTo>
                      <a:pt x="2067" y="1135"/>
                    </a:lnTo>
                    <a:lnTo>
                      <a:pt x="2063" y="1152"/>
                    </a:lnTo>
                    <a:lnTo>
                      <a:pt x="2063" y="1474"/>
                    </a:lnTo>
                    <a:lnTo>
                      <a:pt x="2067" y="1491"/>
                    </a:lnTo>
                    <a:lnTo>
                      <a:pt x="2076" y="1505"/>
                    </a:lnTo>
                    <a:lnTo>
                      <a:pt x="2090" y="1514"/>
                    </a:lnTo>
                    <a:lnTo>
                      <a:pt x="2107" y="1517"/>
                    </a:lnTo>
                    <a:lnTo>
                      <a:pt x="2428" y="1517"/>
                    </a:lnTo>
                    <a:lnTo>
                      <a:pt x="2445" y="1514"/>
                    </a:lnTo>
                    <a:lnTo>
                      <a:pt x="2458" y="1505"/>
                    </a:lnTo>
                    <a:lnTo>
                      <a:pt x="2468" y="1491"/>
                    </a:lnTo>
                    <a:lnTo>
                      <a:pt x="2471" y="1474"/>
                    </a:lnTo>
                    <a:lnTo>
                      <a:pt x="2471" y="1152"/>
                    </a:lnTo>
                    <a:lnTo>
                      <a:pt x="2468" y="1135"/>
                    </a:lnTo>
                    <a:lnTo>
                      <a:pt x="2458" y="1121"/>
                    </a:lnTo>
                    <a:lnTo>
                      <a:pt x="2445" y="1112"/>
                    </a:lnTo>
                    <a:lnTo>
                      <a:pt x="2428" y="1109"/>
                    </a:lnTo>
                    <a:lnTo>
                      <a:pt x="2107" y="1109"/>
                    </a:lnTo>
                    <a:close/>
                    <a:moveTo>
                      <a:pt x="1375" y="1109"/>
                    </a:moveTo>
                    <a:lnTo>
                      <a:pt x="1358" y="1112"/>
                    </a:lnTo>
                    <a:lnTo>
                      <a:pt x="1344" y="1121"/>
                    </a:lnTo>
                    <a:lnTo>
                      <a:pt x="1335" y="1135"/>
                    </a:lnTo>
                    <a:lnTo>
                      <a:pt x="1332" y="1152"/>
                    </a:lnTo>
                    <a:lnTo>
                      <a:pt x="1332" y="1474"/>
                    </a:lnTo>
                    <a:lnTo>
                      <a:pt x="1335" y="1491"/>
                    </a:lnTo>
                    <a:lnTo>
                      <a:pt x="1344" y="1505"/>
                    </a:lnTo>
                    <a:lnTo>
                      <a:pt x="1358" y="1514"/>
                    </a:lnTo>
                    <a:lnTo>
                      <a:pt x="1375" y="1517"/>
                    </a:lnTo>
                    <a:lnTo>
                      <a:pt x="1697" y="1517"/>
                    </a:lnTo>
                    <a:lnTo>
                      <a:pt x="1713" y="1514"/>
                    </a:lnTo>
                    <a:lnTo>
                      <a:pt x="1726" y="1505"/>
                    </a:lnTo>
                    <a:lnTo>
                      <a:pt x="1736" y="1491"/>
                    </a:lnTo>
                    <a:lnTo>
                      <a:pt x="1740" y="1474"/>
                    </a:lnTo>
                    <a:lnTo>
                      <a:pt x="1740" y="1152"/>
                    </a:lnTo>
                    <a:lnTo>
                      <a:pt x="1736" y="1135"/>
                    </a:lnTo>
                    <a:lnTo>
                      <a:pt x="1726" y="1121"/>
                    </a:lnTo>
                    <a:lnTo>
                      <a:pt x="1713" y="1112"/>
                    </a:lnTo>
                    <a:lnTo>
                      <a:pt x="1697" y="1109"/>
                    </a:lnTo>
                    <a:lnTo>
                      <a:pt x="1375" y="1109"/>
                    </a:lnTo>
                    <a:close/>
                    <a:moveTo>
                      <a:pt x="2924" y="1099"/>
                    </a:moveTo>
                    <a:lnTo>
                      <a:pt x="2907" y="1103"/>
                    </a:lnTo>
                    <a:lnTo>
                      <a:pt x="2893" y="1112"/>
                    </a:lnTo>
                    <a:lnTo>
                      <a:pt x="2884" y="1126"/>
                    </a:lnTo>
                    <a:lnTo>
                      <a:pt x="2880" y="1142"/>
                    </a:lnTo>
                    <a:lnTo>
                      <a:pt x="2880" y="1465"/>
                    </a:lnTo>
                    <a:lnTo>
                      <a:pt x="2884" y="1481"/>
                    </a:lnTo>
                    <a:lnTo>
                      <a:pt x="2893" y="1495"/>
                    </a:lnTo>
                    <a:lnTo>
                      <a:pt x="2907" y="1504"/>
                    </a:lnTo>
                    <a:lnTo>
                      <a:pt x="2924" y="1507"/>
                    </a:lnTo>
                    <a:lnTo>
                      <a:pt x="3245" y="1507"/>
                    </a:lnTo>
                    <a:lnTo>
                      <a:pt x="3262" y="1504"/>
                    </a:lnTo>
                    <a:lnTo>
                      <a:pt x="3276" y="1495"/>
                    </a:lnTo>
                    <a:lnTo>
                      <a:pt x="3285" y="1481"/>
                    </a:lnTo>
                    <a:lnTo>
                      <a:pt x="3288" y="1465"/>
                    </a:lnTo>
                    <a:lnTo>
                      <a:pt x="3288" y="1142"/>
                    </a:lnTo>
                    <a:lnTo>
                      <a:pt x="3285" y="1126"/>
                    </a:lnTo>
                    <a:lnTo>
                      <a:pt x="3276" y="1112"/>
                    </a:lnTo>
                    <a:lnTo>
                      <a:pt x="3262" y="1103"/>
                    </a:lnTo>
                    <a:lnTo>
                      <a:pt x="3245" y="1099"/>
                    </a:lnTo>
                    <a:lnTo>
                      <a:pt x="2924" y="1099"/>
                    </a:lnTo>
                    <a:close/>
                    <a:moveTo>
                      <a:pt x="502" y="1099"/>
                    </a:moveTo>
                    <a:lnTo>
                      <a:pt x="487" y="1103"/>
                    </a:lnTo>
                    <a:lnTo>
                      <a:pt x="473" y="1112"/>
                    </a:lnTo>
                    <a:lnTo>
                      <a:pt x="463" y="1126"/>
                    </a:lnTo>
                    <a:lnTo>
                      <a:pt x="460" y="1142"/>
                    </a:lnTo>
                    <a:lnTo>
                      <a:pt x="460" y="1465"/>
                    </a:lnTo>
                    <a:lnTo>
                      <a:pt x="463" y="1481"/>
                    </a:lnTo>
                    <a:lnTo>
                      <a:pt x="473" y="1495"/>
                    </a:lnTo>
                    <a:lnTo>
                      <a:pt x="487" y="1504"/>
                    </a:lnTo>
                    <a:lnTo>
                      <a:pt x="502" y="1507"/>
                    </a:lnTo>
                    <a:lnTo>
                      <a:pt x="824" y="1507"/>
                    </a:lnTo>
                    <a:lnTo>
                      <a:pt x="841" y="1504"/>
                    </a:lnTo>
                    <a:lnTo>
                      <a:pt x="855" y="1495"/>
                    </a:lnTo>
                    <a:lnTo>
                      <a:pt x="864" y="1481"/>
                    </a:lnTo>
                    <a:lnTo>
                      <a:pt x="867" y="1465"/>
                    </a:lnTo>
                    <a:lnTo>
                      <a:pt x="867" y="1142"/>
                    </a:lnTo>
                    <a:lnTo>
                      <a:pt x="864" y="1126"/>
                    </a:lnTo>
                    <a:lnTo>
                      <a:pt x="855" y="1112"/>
                    </a:lnTo>
                    <a:lnTo>
                      <a:pt x="841" y="1103"/>
                    </a:lnTo>
                    <a:lnTo>
                      <a:pt x="824" y="1099"/>
                    </a:lnTo>
                    <a:lnTo>
                      <a:pt x="502" y="1099"/>
                    </a:lnTo>
                    <a:close/>
                    <a:moveTo>
                      <a:pt x="2107" y="544"/>
                    </a:moveTo>
                    <a:lnTo>
                      <a:pt x="2090" y="548"/>
                    </a:lnTo>
                    <a:lnTo>
                      <a:pt x="2076" y="557"/>
                    </a:lnTo>
                    <a:lnTo>
                      <a:pt x="2067" y="571"/>
                    </a:lnTo>
                    <a:lnTo>
                      <a:pt x="2063" y="587"/>
                    </a:lnTo>
                    <a:lnTo>
                      <a:pt x="2063" y="909"/>
                    </a:lnTo>
                    <a:lnTo>
                      <a:pt x="2067" y="926"/>
                    </a:lnTo>
                    <a:lnTo>
                      <a:pt x="2076" y="940"/>
                    </a:lnTo>
                    <a:lnTo>
                      <a:pt x="2090" y="949"/>
                    </a:lnTo>
                    <a:lnTo>
                      <a:pt x="2107" y="952"/>
                    </a:lnTo>
                    <a:lnTo>
                      <a:pt x="2428" y="952"/>
                    </a:lnTo>
                    <a:lnTo>
                      <a:pt x="2445" y="949"/>
                    </a:lnTo>
                    <a:lnTo>
                      <a:pt x="2458" y="940"/>
                    </a:lnTo>
                    <a:lnTo>
                      <a:pt x="2468" y="926"/>
                    </a:lnTo>
                    <a:lnTo>
                      <a:pt x="2471" y="909"/>
                    </a:lnTo>
                    <a:lnTo>
                      <a:pt x="2471" y="587"/>
                    </a:lnTo>
                    <a:lnTo>
                      <a:pt x="2468" y="571"/>
                    </a:lnTo>
                    <a:lnTo>
                      <a:pt x="2458" y="557"/>
                    </a:lnTo>
                    <a:lnTo>
                      <a:pt x="2445" y="548"/>
                    </a:lnTo>
                    <a:lnTo>
                      <a:pt x="2428" y="544"/>
                    </a:lnTo>
                    <a:lnTo>
                      <a:pt x="2107" y="544"/>
                    </a:lnTo>
                    <a:close/>
                    <a:moveTo>
                      <a:pt x="1375" y="544"/>
                    </a:moveTo>
                    <a:lnTo>
                      <a:pt x="1358" y="548"/>
                    </a:lnTo>
                    <a:lnTo>
                      <a:pt x="1344" y="557"/>
                    </a:lnTo>
                    <a:lnTo>
                      <a:pt x="1335" y="571"/>
                    </a:lnTo>
                    <a:lnTo>
                      <a:pt x="1332" y="587"/>
                    </a:lnTo>
                    <a:lnTo>
                      <a:pt x="1332" y="909"/>
                    </a:lnTo>
                    <a:lnTo>
                      <a:pt x="1335" y="926"/>
                    </a:lnTo>
                    <a:lnTo>
                      <a:pt x="1344" y="940"/>
                    </a:lnTo>
                    <a:lnTo>
                      <a:pt x="1358" y="949"/>
                    </a:lnTo>
                    <a:lnTo>
                      <a:pt x="1375" y="952"/>
                    </a:lnTo>
                    <a:lnTo>
                      <a:pt x="1697" y="952"/>
                    </a:lnTo>
                    <a:lnTo>
                      <a:pt x="1713" y="949"/>
                    </a:lnTo>
                    <a:lnTo>
                      <a:pt x="1726" y="940"/>
                    </a:lnTo>
                    <a:lnTo>
                      <a:pt x="1736" y="926"/>
                    </a:lnTo>
                    <a:lnTo>
                      <a:pt x="1740" y="909"/>
                    </a:lnTo>
                    <a:lnTo>
                      <a:pt x="1740" y="587"/>
                    </a:lnTo>
                    <a:lnTo>
                      <a:pt x="1736" y="571"/>
                    </a:lnTo>
                    <a:lnTo>
                      <a:pt x="1726" y="557"/>
                    </a:lnTo>
                    <a:lnTo>
                      <a:pt x="1713" y="548"/>
                    </a:lnTo>
                    <a:lnTo>
                      <a:pt x="1697" y="544"/>
                    </a:lnTo>
                    <a:lnTo>
                      <a:pt x="1375" y="544"/>
                    </a:lnTo>
                    <a:close/>
                    <a:moveTo>
                      <a:pt x="1032" y="0"/>
                    </a:moveTo>
                    <a:lnTo>
                      <a:pt x="2770" y="0"/>
                    </a:lnTo>
                    <a:lnTo>
                      <a:pt x="2787" y="2"/>
                    </a:lnTo>
                    <a:lnTo>
                      <a:pt x="2801" y="10"/>
                    </a:lnTo>
                    <a:lnTo>
                      <a:pt x="2813" y="21"/>
                    </a:lnTo>
                    <a:lnTo>
                      <a:pt x="2820" y="36"/>
                    </a:lnTo>
                    <a:lnTo>
                      <a:pt x="2823" y="53"/>
                    </a:lnTo>
                    <a:lnTo>
                      <a:pt x="2823" y="149"/>
                    </a:lnTo>
                    <a:lnTo>
                      <a:pt x="2820" y="165"/>
                    </a:lnTo>
                    <a:lnTo>
                      <a:pt x="2813" y="180"/>
                    </a:lnTo>
                    <a:lnTo>
                      <a:pt x="2801" y="193"/>
                    </a:lnTo>
                    <a:lnTo>
                      <a:pt x="2787" y="200"/>
                    </a:lnTo>
                    <a:lnTo>
                      <a:pt x="2770" y="203"/>
                    </a:lnTo>
                    <a:lnTo>
                      <a:pt x="2764" y="203"/>
                    </a:lnTo>
                    <a:lnTo>
                      <a:pt x="2761" y="204"/>
                    </a:lnTo>
                    <a:lnTo>
                      <a:pt x="2757" y="204"/>
                    </a:lnTo>
                    <a:lnTo>
                      <a:pt x="2756" y="206"/>
                    </a:lnTo>
                    <a:lnTo>
                      <a:pt x="2755" y="208"/>
                    </a:lnTo>
                    <a:lnTo>
                      <a:pt x="2754" y="210"/>
                    </a:lnTo>
                    <a:lnTo>
                      <a:pt x="2754" y="211"/>
                    </a:lnTo>
                    <a:lnTo>
                      <a:pt x="2754" y="620"/>
                    </a:lnTo>
                    <a:lnTo>
                      <a:pt x="2754" y="621"/>
                    </a:lnTo>
                    <a:lnTo>
                      <a:pt x="2754" y="626"/>
                    </a:lnTo>
                    <a:lnTo>
                      <a:pt x="2756" y="632"/>
                    </a:lnTo>
                    <a:lnTo>
                      <a:pt x="2761" y="638"/>
                    </a:lnTo>
                    <a:lnTo>
                      <a:pt x="2768" y="643"/>
                    </a:lnTo>
                    <a:lnTo>
                      <a:pt x="2779" y="645"/>
                    </a:lnTo>
                    <a:lnTo>
                      <a:pt x="3528" y="645"/>
                    </a:lnTo>
                    <a:lnTo>
                      <a:pt x="3553" y="648"/>
                    </a:lnTo>
                    <a:lnTo>
                      <a:pt x="3575" y="659"/>
                    </a:lnTo>
                    <a:lnTo>
                      <a:pt x="3596" y="673"/>
                    </a:lnTo>
                    <a:lnTo>
                      <a:pt x="3611" y="693"/>
                    </a:lnTo>
                    <a:lnTo>
                      <a:pt x="3621" y="716"/>
                    </a:lnTo>
                    <a:lnTo>
                      <a:pt x="3624" y="742"/>
                    </a:lnTo>
                    <a:lnTo>
                      <a:pt x="3624" y="2859"/>
                    </a:lnTo>
                    <a:lnTo>
                      <a:pt x="3624" y="2860"/>
                    </a:lnTo>
                    <a:lnTo>
                      <a:pt x="3624" y="2865"/>
                    </a:lnTo>
                    <a:lnTo>
                      <a:pt x="3626" y="2871"/>
                    </a:lnTo>
                    <a:lnTo>
                      <a:pt x="3629" y="2878"/>
                    </a:lnTo>
                    <a:lnTo>
                      <a:pt x="3634" y="2883"/>
                    </a:lnTo>
                    <a:lnTo>
                      <a:pt x="3640" y="2888"/>
                    </a:lnTo>
                    <a:lnTo>
                      <a:pt x="3649" y="2889"/>
                    </a:lnTo>
                    <a:lnTo>
                      <a:pt x="3696" y="2889"/>
                    </a:lnTo>
                    <a:lnTo>
                      <a:pt x="3713" y="2892"/>
                    </a:lnTo>
                    <a:lnTo>
                      <a:pt x="3728" y="2899"/>
                    </a:lnTo>
                    <a:lnTo>
                      <a:pt x="3739" y="2912"/>
                    </a:lnTo>
                    <a:lnTo>
                      <a:pt x="3747" y="2926"/>
                    </a:lnTo>
                    <a:lnTo>
                      <a:pt x="3750" y="2943"/>
                    </a:lnTo>
                    <a:lnTo>
                      <a:pt x="3750" y="3055"/>
                    </a:lnTo>
                    <a:lnTo>
                      <a:pt x="3747" y="3072"/>
                    </a:lnTo>
                    <a:lnTo>
                      <a:pt x="3739" y="3087"/>
                    </a:lnTo>
                    <a:lnTo>
                      <a:pt x="3728" y="3098"/>
                    </a:lnTo>
                    <a:lnTo>
                      <a:pt x="3713" y="3106"/>
                    </a:lnTo>
                    <a:lnTo>
                      <a:pt x="3696" y="3108"/>
                    </a:lnTo>
                    <a:lnTo>
                      <a:pt x="54" y="3108"/>
                    </a:lnTo>
                    <a:lnTo>
                      <a:pt x="36" y="3106"/>
                    </a:lnTo>
                    <a:lnTo>
                      <a:pt x="22" y="3098"/>
                    </a:lnTo>
                    <a:lnTo>
                      <a:pt x="10" y="3087"/>
                    </a:lnTo>
                    <a:lnTo>
                      <a:pt x="2" y="3072"/>
                    </a:lnTo>
                    <a:lnTo>
                      <a:pt x="0" y="3055"/>
                    </a:lnTo>
                    <a:lnTo>
                      <a:pt x="0" y="2943"/>
                    </a:lnTo>
                    <a:lnTo>
                      <a:pt x="2" y="2926"/>
                    </a:lnTo>
                    <a:lnTo>
                      <a:pt x="10" y="2912"/>
                    </a:lnTo>
                    <a:lnTo>
                      <a:pt x="22" y="2899"/>
                    </a:lnTo>
                    <a:lnTo>
                      <a:pt x="36" y="2892"/>
                    </a:lnTo>
                    <a:lnTo>
                      <a:pt x="54" y="2889"/>
                    </a:lnTo>
                    <a:lnTo>
                      <a:pt x="91" y="2889"/>
                    </a:lnTo>
                    <a:lnTo>
                      <a:pt x="103" y="2889"/>
                    </a:lnTo>
                    <a:lnTo>
                      <a:pt x="112" y="2887"/>
                    </a:lnTo>
                    <a:lnTo>
                      <a:pt x="118" y="2882"/>
                    </a:lnTo>
                    <a:lnTo>
                      <a:pt x="122" y="2876"/>
                    </a:lnTo>
                    <a:lnTo>
                      <a:pt x="124" y="2866"/>
                    </a:lnTo>
                    <a:lnTo>
                      <a:pt x="124" y="742"/>
                    </a:lnTo>
                    <a:lnTo>
                      <a:pt x="128" y="716"/>
                    </a:lnTo>
                    <a:lnTo>
                      <a:pt x="137" y="693"/>
                    </a:lnTo>
                    <a:lnTo>
                      <a:pt x="152" y="673"/>
                    </a:lnTo>
                    <a:lnTo>
                      <a:pt x="172" y="659"/>
                    </a:lnTo>
                    <a:lnTo>
                      <a:pt x="195" y="648"/>
                    </a:lnTo>
                    <a:lnTo>
                      <a:pt x="220" y="645"/>
                    </a:lnTo>
                    <a:lnTo>
                      <a:pt x="1028" y="645"/>
                    </a:lnTo>
                    <a:lnTo>
                      <a:pt x="1037" y="643"/>
                    </a:lnTo>
                    <a:lnTo>
                      <a:pt x="1043" y="638"/>
                    </a:lnTo>
                    <a:lnTo>
                      <a:pt x="1046" y="631"/>
                    </a:lnTo>
                    <a:lnTo>
                      <a:pt x="1047" y="623"/>
                    </a:lnTo>
                    <a:lnTo>
                      <a:pt x="1048" y="616"/>
                    </a:lnTo>
                    <a:lnTo>
                      <a:pt x="1048" y="612"/>
                    </a:lnTo>
                    <a:lnTo>
                      <a:pt x="1048" y="610"/>
                    </a:lnTo>
                    <a:lnTo>
                      <a:pt x="1048" y="218"/>
                    </a:lnTo>
                    <a:lnTo>
                      <a:pt x="1048" y="217"/>
                    </a:lnTo>
                    <a:lnTo>
                      <a:pt x="1048" y="216"/>
                    </a:lnTo>
                    <a:lnTo>
                      <a:pt x="1048" y="213"/>
                    </a:lnTo>
                    <a:lnTo>
                      <a:pt x="1047" y="211"/>
                    </a:lnTo>
                    <a:lnTo>
                      <a:pt x="1046" y="209"/>
                    </a:lnTo>
                    <a:lnTo>
                      <a:pt x="1044" y="206"/>
                    </a:lnTo>
                    <a:lnTo>
                      <a:pt x="1041" y="204"/>
                    </a:lnTo>
                    <a:lnTo>
                      <a:pt x="1037" y="203"/>
                    </a:lnTo>
                    <a:lnTo>
                      <a:pt x="1032" y="203"/>
                    </a:lnTo>
                    <a:lnTo>
                      <a:pt x="1015" y="200"/>
                    </a:lnTo>
                    <a:lnTo>
                      <a:pt x="1002" y="193"/>
                    </a:lnTo>
                    <a:lnTo>
                      <a:pt x="989" y="180"/>
                    </a:lnTo>
                    <a:lnTo>
                      <a:pt x="982" y="165"/>
                    </a:lnTo>
                    <a:lnTo>
                      <a:pt x="979" y="149"/>
                    </a:lnTo>
                    <a:lnTo>
                      <a:pt x="979" y="53"/>
                    </a:lnTo>
                    <a:lnTo>
                      <a:pt x="982" y="36"/>
                    </a:lnTo>
                    <a:lnTo>
                      <a:pt x="989" y="21"/>
                    </a:lnTo>
                    <a:lnTo>
                      <a:pt x="1002" y="10"/>
                    </a:lnTo>
                    <a:lnTo>
                      <a:pt x="1015" y="2"/>
                    </a:lnTo>
                    <a:lnTo>
                      <a:pt x="1032" y="0"/>
                    </a:lnTo>
                    <a:close/>
                  </a:path>
                </a:pathLst>
              </a:custGeom>
              <a:solidFill>
                <a:srgbClr val="02467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584" name="Rectangle 583">
                <a:extLst>
                  <a:ext uri="{FF2B5EF4-FFF2-40B4-BE49-F238E27FC236}">
                    <a16:creationId xmlns:a16="http://schemas.microsoft.com/office/drawing/2014/main" id="{8BF5644E-72FF-41C9-B808-D09975EBC022}"/>
                  </a:ext>
                </a:extLst>
              </p:cNvPr>
              <p:cNvSpPr/>
              <p:nvPr/>
            </p:nvSpPr>
            <p:spPr>
              <a:xfrm>
                <a:off x="6978994" y="5576136"/>
                <a:ext cx="2628000" cy="21385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133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Dar es Salaam, Tanzania</a:t>
                </a:r>
                <a:r>
                  <a:rPr kumimoji="0" lang="en-ZA" sz="11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2467C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rPr>
                  <a:t>| Office</a:t>
                </a:r>
              </a:p>
            </p:txBody>
          </p:sp>
          <p:sp>
            <p:nvSpPr>
              <p:cNvPr id="585" name="Oval 584">
                <a:extLst>
                  <a:ext uri="{FF2B5EF4-FFF2-40B4-BE49-F238E27FC236}">
                    <a16:creationId xmlns:a16="http://schemas.microsoft.com/office/drawing/2014/main" id="{8489CC7F-2F28-43A0-8043-858C2FA542FE}"/>
                  </a:ext>
                </a:extLst>
              </p:cNvPr>
              <p:cNvSpPr/>
              <p:nvPr/>
            </p:nvSpPr>
            <p:spPr>
              <a:xfrm>
                <a:off x="5942807" y="5425768"/>
                <a:ext cx="108000" cy="108000"/>
              </a:xfrm>
              <a:prstGeom prst="ellipse">
                <a:avLst/>
              </a:prstGeom>
              <a:solidFill>
                <a:srgbClr val="02467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15DF0B5D-E278-4B3C-A52B-529C76C4EFBD}"/>
                  </a:ext>
                </a:extLst>
              </p:cNvPr>
              <p:cNvCxnSpPr>
                <a:cxnSpLocks/>
                <a:stCxn id="585" idx="6"/>
              </p:cNvCxnSpPr>
              <p:nvPr/>
            </p:nvCxnSpPr>
            <p:spPr>
              <a:xfrm>
                <a:off x="6050807" y="5479768"/>
                <a:ext cx="573029" cy="194648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00206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1" name="Connector: Elbow 580">
              <a:extLst>
                <a:ext uri="{FF2B5EF4-FFF2-40B4-BE49-F238E27FC236}">
                  <a16:creationId xmlns:a16="http://schemas.microsoft.com/office/drawing/2014/main" id="{9E8FF2C4-B445-4271-863A-1029A5199C60}"/>
                </a:ext>
              </a:extLst>
            </p:cNvPr>
            <p:cNvCxnSpPr>
              <a:cxnSpLocks/>
              <a:stCxn id="580" idx="6"/>
              <a:endCxn id="494" idx="1"/>
            </p:cNvCxnSpPr>
            <p:nvPr/>
          </p:nvCxnSpPr>
          <p:spPr>
            <a:xfrm>
              <a:off x="7134032" y="3690098"/>
              <a:ext cx="589282" cy="5004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6E02B5FF-B623-4773-927A-B15CFA86E603}"/>
                </a:ext>
              </a:extLst>
            </p:cNvPr>
            <p:cNvGrpSpPr/>
            <p:nvPr/>
          </p:nvGrpSpPr>
          <p:grpSpPr>
            <a:xfrm>
              <a:off x="6953389" y="3838215"/>
              <a:ext cx="3837177" cy="576227"/>
              <a:chOff x="6569918" y="4591052"/>
              <a:chExt cx="3648647" cy="552178"/>
            </a:xfrm>
          </p:grpSpPr>
          <p:pic>
            <p:nvPicPr>
              <p:cNvPr id="502" name="Picture 501">
                <a:extLst>
                  <a:ext uri="{FF2B5EF4-FFF2-40B4-BE49-F238E27FC236}">
                    <a16:creationId xmlns:a16="http://schemas.microsoft.com/office/drawing/2014/main" id="{84A92E9A-9A46-4011-851E-B45A094F637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clrChange>
                  <a:clrFrom>
                    <a:srgbClr val="E7E7E8"/>
                  </a:clrFrom>
                  <a:clrTo>
                    <a:srgbClr val="E7E7E8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347605" y="4918743"/>
                <a:ext cx="208209" cy="216000"/>
              </a:xfrm>
              <a:prstGeom prst="rect">
                <a:avLst/>
              </a:prstGeom>
            </p:spPr>
          </p:pic>
          <p:grpSp>
            <p:nvGrpSpPr>
              <p:cNvPr id="574" name="Group 573">
                <a:extLst>
                  <a:ext uri="{FF2B5EF4-FFF2-40B4-BE49-F238E27FC236}">
                    <a16:creationId xmlns:a16="http://schemas.microsoft.com/office/drawing/2014/main" id="{F9008BDD-40E1-446F-8F8C-07FBCC56E93B}"/>
                  </a:ext>
                </a:extLst>
              </p:cNvPr>
              <p:cNvGrpSpPr/>
              <p:nvPr/>
            </p:nvGrpSpPr>
            <p:grpSpPr>
              <a:xfrm>
                <a:off x="6569918" y="4591052"/>
                <a:ext cx="3648647" cy="552178"/>
                <a:chOff x="6178923" y="5645760"/>
                <a:chExt cx="3648647" cy="552178"/>
              </a:xfrm>
            </p:grpSpPr>
            <p:sp>
              <p:nvSpPr>
                <p:cNvPr id="576" name="Rectangle 575">
                  <a:extLst>
                    <a:ext uri="{FF2B5EF4-FFF2-40B4-BE49-F238E27FC236}">
                      <a16:creationId xmlns:a16="http://schemas.microsoft.com/office/drawing/2014/main" id="{BB861EAA-9502-4093-B998-C99A922F392B}"/>
                    </a:ext>
                  </a:extLst>
                </p:cNvPr>
                <p:cNvSpPr/>
                <p:nvPr/>
              </p:nvSpPr>
              <p:spPr>
                <a:xfrm>
                  <a:off x="7199570" y="5984082"/>
                  <a:ext cx="2628000" cy="21385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ZA" sz="11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Songas | </a:t>
                  </a:r>
                  <a:r>
                    <a:rPr kumimoji="0" lang="en-ZA" sz="113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49800"/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190 MW</a:t>
                  </a:r>
                </a:p>
              </p:txBody>
            </p:sp>
            <p:sp>
              <p:nvSpPr>
                <p:cNvPr id="577" name="Oval 576">
                  <a:extLst>
                    <a:ext uri="{FF2B5EF4-FFF2-40B4-BE49-F238E27FC236}">
                      <a16:creationId xmlns:a16="http://schemas.microsoft.com/office/drawing/2014/main" id="{2C4728C7-E581-4068-8510-802EE9CD1B82}"/>
                    </a:ext>
                  </a:extLst>
                </p:cNvPr>
                <p:cNvSpPr/>
                <p:nvPr/>
              </p:nvSpPr>
              <p:spPr>
                <a:xfrm>
                  <a:off x="6178923" y="5645760"/>
                  <a:ext cx="108000" cy="108000"/>
                </a:xfrm>
                <a:prstGeom prst="ellipse">
                  <a:avLst/>
                </a:prstGeom>
                <a:solidFill>
                  <a:srgbClr val="F8992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587" name="Picture 586">
              <a:extLst>
                <a:ext uri="{FF2B5EF4-FFF2-40B4-BE49-F238E27FC236}">
                  <a16:creationId xmlns:a16="http://schemas.microsoft.com/office/drawing/2014/main" id="{BCA94842-D703-4C33-A349-1A98564908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72824" y="3628612"/>
              <a:ext cx="218968" cy="225407"/>
            </a:xfrm>
            <a:prstGeom prst="rect">
              <a:avLst/>
            </a:prstGeom>
          </p:spPr>
        </p:pic>
        <p:sp>
          <p:nvSpPr>
            <p:cNvPr id="588" name="Oval 587">
              <a:extLst>
                <a:ext uri="{FF2B5EF4-FFF2-40B4-BE49-F238E27FC236}">
                  <a16:creationId xmlns:a16="http://schemas.microsoft.com/office/drawing/2014/main" id="{6D33FBBA-CA6B-48D7-931A-2AB67476D053}"/>
                </a:ext>
              </a:extLst>
            </p:cNvPr>
            <p:cNvSpPr/>
            <p:nvPr/>
          </p:nvSpPr>
          <p:spPr>
            <a:xfrm>
              <a:off x="5468918" y="3179500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589" name="Oval 588">
              <a:extLst>
                <a:ext uri="{FF2B5EF4-FFF2-40B4-BE49-F238E27FC236}">
                  <a16:creationId xmlns:a16="http://schemas.microsoft.com/office/drawing/2014/main" id="{2B6765B4-894E-43C7-8B56-DA23A06BA28C}"/>
                </a:ext>
              </a:extLst>
            </p:cNvPr>
            <p:cNvSpPr/>
            <p:nvPr/>
          </p:nvSpPr>
          <p:spPr>
            <a:xfrm>
              <a:off x="5519934" y="3246002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590" name="Rectangle 589">
              <a:extLst>
                <a:ext uri="{FF2B5EF4-FFF2-40B4-BE49-F238E27FC236}">
                  <a16:creationId xmlns:a16="http://schemas.microsoft.com/office/drawing/2014/main" id="{536DEEDC-B09C-4284-A2D5-C8EA6A06AC0D}"/>
                </a:ext>
              </a:extLst>
            </p:cNvPr>
            <p:cNvSpPr/>
            <p:nvPr/>
          </p:nvSpPr>
          <p:spPr>
            <a:xfrm>
              <a:off x="1213339" y="3372868"/>
              <a:ext cx="3719691" cy="2124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Dibamba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88 MW</a:t>
              </a:r>
            </a:p>
          </p:txBody>
        </p:sp>
        <p:pic>
          <p:nvPicPr>
            <p:cNvPr id="591" name="Picture 590">
              <a:extLst>
                <a:ext uri="{FF2B5EF4-FFF2-40B4-BE49-F238E27FC236}">
                  <a16:creationId xmlns:a16="http://schemas.microsoft.com/office/drawing/2014/main" id="{7BC957BD-C712-4140-A203-1C4CAE4DD6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50506" y="3334585"/>
              <a:ext cx="278178" cy="255414"/>
            </a:xfrm>
            <a:prstGeom prst="rect">
              <a:avLst/>
            </a:prstGeom>
          </p:spPr>
        </p:pic>
        <p:cxnSp>
          <p:nvCxnSpPr>
            <p:cNvPr id="592" name="Connector: Elbow 591">
              <a:extLst>
                <a:ext uri="{FF2B5EF4-FFF2-40B4-BE49-F238E27FC236}">
                  <a16:creationId xmlns:a16="http://schemas.microsoft.com/office/drawing/2014/main" id="{C5C85766-3D68-470F-901C-D8D51C112C28}"/>
                </a:ext>
              </a:extLst>
            </p:cNvPr>
            <p:cNvCxnSpPr>
              <a:cxnSpLocks/>
              <a:stCxn id="587" idx="3"/>
              <a:endCxn id="589" idx="4"/>
            </p:cNvCxnSpPr>
            <p:nvPr/>
          </p:nvCxnSpPr>
          <p:spPr>
            <a:xfrm flipV="1">
              <a:off x="5091792" y="3358705"/>
              <a:ext cx="484932" cy="382611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3" name="Connector: Elbow 592">
              <a:extLst>
                <a:ext uri="{FF2B5EF4-FFF2-40B4-BE49-F238E27FC236}">
                  <a16:creationId xmlns:a16="http://schemas.microsoft.com/office/drawing/2014/main" id="{F5A82C5C-1622-4B3E-B30A-007225DCD865}"/>
                </a:ext>
              </a:extLst>
            </p:cNvPr>
            <p:cNvCxnSpPr>
              <a:cxnSpLocks/>
              <a:stCxn id="591" idx="3"/>
              <a:endCxn id="588" idx="2"/>
            </p:cNvCxnSpPr>
            <p:nvPr/>
          </p:nvCxnSpPr>
          <p:spPr>
            <a:xfrm flipV="1">
              <a:off x="5128684" y="3235852"/>
              <a:ext cx="340234" cy="226440"/>
            </a:xfrm>
            <a:prstGeom prst="bentConnector3">
              <a:avLst>
                <a:gd name="adj1" fmla="val 79530"/>
              </a:avLst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6" name="Freeform 51">
              <a:extLst>
                <a:ext uri="{FF2B5EF4-FFF2-40B4-BE49-F238E27FC236}">
                  <a16:creationId xmlns:a16="http://schemas.microsoft.com/office/drawing/2014/main" id="{EE0FE8E5-C43C-4FD7-96A8-E36A43D07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4840" y="1397188"/>
              <a:ext cx="189301" cy="187839"/>
            </a:xfrm>
            <a:custGeom>
              <a:avLst/>
              <a:gdLst>
                <a:gd name="T0" fmla="*/ 1613 w 3750"/>
                <a:gd name="T1" fmla="*/ 2844 h 3108"/>
                <a:gd name="T2" fmla="*/ 2171 w 3750"/>
                <a:gd name="T3" fmla="*/ 2883 h 3108"/>
                <a:gd name="T4" fmla="*/ 2184 w 3750"/>
                <a:gd name="T5" fmla="*/ 2315 h 3108"/>
                <a:gd name="T6" fmla="*/ 2893 w 3750"/>
                <a:gd name="T7" fmla="*/ 2222 h 3108"/>
                <a:gd name="T8" fmla="*/ 2907 w 3750"/>
                <a:gd name="T9" fmla="*/ 2615 h 3108"/>
                <a:gd name="T10" fmla="*/ 3288 w 3750"/>
                <a:gd name="T11" fmla="*/ 2575 h 3108"/>
                <a:gd name="T12" fmla="*/ 2924 w 3750"/>
                <a:gd name="T13" fmla="*/ 2210 h 3108"/>
                <a:gd name="T14" fmla="*/ 460 w 3750"/>
                <a:gd name="T15" fmla="*/ 2575 h 3108"/>
                <a:gd name="T16" fmla="*/ 841 w 3750"/>
                <a:gd name="T17" fmla="*/ 2615 h 3108"/>
                <a:gd name="T18" fmla="*/ 855 w 3750"/>
                <a:gd name="T19" fmla="*/ 2222 h 3108"/>
                <a:gd name="T20" fmla="*/ 2893 w 3750"/>
                <a:gd name="T21" fmla="*/ 1677 h 3108"/>
                <a:gd name="T22" fmla="*/ 2907 w 3750"/>
                <a:gd name="T23" fmla="*/ 2069 h 3108"/>
                <a:gd name="T24" fmla="*/ 3288 w 3750"/>
                <a:gd name="T25" fmla="*/ 2029 h 3108"/>
                <a:gd name="T26" fmla="*/ 2924 w 3750"/>
                <a:gd name="T27" fmla="*/ 1665 h 3108"/>
                <a:gd name="T28" fmla="*/ 460 w 3750"/>
                <a:gd name="T29" fmla="*/ 2029 h 3108"/>
                <a:gd name="T30" fmla="*/ 841 w 3750"/>
                <a:gd name="T31" fmla="*/ 2069 h 3108"/>
                <a:gd name="T32" fmla="*/ 855 w 3750"/>
                <a:gd name="T33" fmla="*/ 1677 h 3108"/>
                <a:gd name="T34" fmla="*/ 2076 w 3750"/>
                <a:gd name="T35" fmla="*/ 1667 h 3108"/>
                <a:gd name="T36" fmla="*/ 2090 w 3750"/>
                <a:gd name="T37" fmla="*/ 2059 h 3108"/>
                <a:gd name="T38" fmla="*/ 2471 w 3750"/>
                <a:gd name="T39" fmla="*/ 2020 h 3108"/>
                <a:gd name="T40" fmla="*/ 2107 w 3750"/>
                <a:gd name="T41" fmla="*/ 1654 h 3108"/>
                <a:gd name="T42" fmla="*/ 1332 w 3750"/>
                <a:gd name="T43" fmla="*/ 2020 h 3108"/>
                <a:gd name="T44" fmla="*/ 1713 w 3750"/>
                <a:gd name="T45" fmla="*/ 2059 h 3108"/>
                <a:gd name="T46" fmla="*/ 1726 w 3750"/>
                <a:gd name="T47" fmla="*/ 1667 h 3108"/>
                <a:gd name="T48" fmla="*/ 2076 w 3750"/>
                <a:gd name="T49" fmla="*/ 1121 h 3108"/>
                <a:gd name="T50" fmla="*/ 2090 w 3750"/>
                <a:gd name="T51" fmla="*/ 1514 h 3108"/>
                <a:gd name="T52" fmla="*/ 2471 w 3750"/>
                <a:gd name="T53" fmla="*/ 1474 h 3108"/>
                <a:gd name="T54" fmla="*/ 2107 w 3750"/>
                <a:gd name="T55" fmla="*/ 1109 h 3108"/>
                <a:gd name="T56" fmla="*/ 1332 w 3750"/>
                <a:gd name="T57" fmla="*/ 1474 h 3108"/>
                <a:gd name="T58" fmla="*/ 1713 w 3750"/>
                <a:gd name="T59" fmla="*/ 1514 h 3108"/>
                <a:gd name="T60" fmla="*/ 1726 w 3750"/>
                <a:gd name="T61" fmla="*/ 1121 h 3108"/>
                <a:gd name="T62" fmla="*/ 2893 w 3750"/>
                <a:gd name="T63" fmla="*/ 1112 h 3108"/>
                <a:gd name="T64" fmla="*/ 2907 w 3750"/>
                <a:gd name="T65" fmla="*/ 1504 h 3108"/>
                <a:gd name="T66" fmla="*/ 3288 w 3750"/>
                <a:gd name="T67" fmla="*/ 1465 h 3108"/>
                <a:gd name="T68" fmla="*/ 2924 w 3750"/>
                <a:gd name="T69" fmla="*/ 1099 h 3108"/>
                <a:gd name="T70" fmla="*/ 460 w 3750"/>
                <a:gd name="T71" fmla="*/ 1465 h 3108"/>
                <a:gd name="T72" fmla="*/ 841 w 3750"/>
                <a:gd name="T73" fmla="*/ 1504 h 3108"/>
                <a:gd name="T74" fmla="*/ 855 w 3750"/>
                <a:gd name="T75" fmla="*/ 1112 h 3108"/>
                <a:gd name="T76" fmla="*/ 2076 w 3750"/>
                <a:gd name="T77" fmla="*/ 557 h 3108"/>
                <a:gd name="T78" fmla="*/ 2090 w 3750"/>
                <a:gd name="T79" fmla="*/ 949 h 3108"/>
                <a:gd name="T80" fmla="*/ 2471 w 3750"/>
                <a:gd name="T81" fmla="*/ 909 h 3108"/>
                <a:gd name="T82" fmla="*/ 2107 w 3750"/>
                <a:gd name="T83" fmla="*/ 544 h 3108"/>
                <a:gd name="T84" fmla="*/ 1332 w 3750"/>
                <a:gd name="T85" fmla="*/ 909 h 3108"/>
                <a:gd name="T86" fmla="*/ 1713 w 3750"/>
                <a:gd name="T87" fmla="*/ 949 h 3108"/>
                <a:gd name="T88" fmla="*/ 1726 w 3750"/>
                <a:gd name="T89" fmla="*/ 557 h 3108"/>
                <a:gd name="T90" fmla="*/ 2787 w 3750"/>
                <a:gd name="T91" fmla="*/ 2 h 3108"/>
                <a:gd name="T92" fmla="*/ 2820 w 3750"/>
                <a:gd name="T93" fmla="*/ 165 h 3108"/>
                <a:gd name="T94" fmla="*/ 2761 w 3750"/>
                <a:gd name="T95" fmla="*/ 204 h 3108"/>
                <a:gd name="T96" fmla="*/ 2754 w 3750"/>
                <a:gd name="T97" fmla="*/ 620 h 3108"/>
                <a:gd name="T98" fmla="*/ 2779 w 3750"/>
                <a:gd name="T99" fmla="*/ 645 h 3108"/>
                <a:gd name="T100" fmla="*/ 3621 w 3750"/>
                <a:gd name="T101" fmla="*/ 716 h 3108"/>
                <a:gd name="T102" fmla="*/ 3629 w 3750"/>
                <a:gd name="T103" fmla="*/ 2878 h 3108"/>
                <a:gd name="T104" fmla="*/ 3728 w 3750"/>
                <a:gd name="T105" fmla="*/ 2899 h 3108"/>
                <a:gd name="T106" fmla="*/ 3739 w 3750"/>
                <a:gd name="T107" fmla="*/ 3087 h 3108"/>
                <a:gd name="T108" fmla="*/ 22 w 3750"/>
                <a:gd name="T109" fmla="*/ 3098 h 3108"/>
                <a:gd name="T110" fmla="*/ 10 w 3750"/>
                <a:gd name="T111" fmla="*/ 2912 h 3108"/>
                <a:gd name="T112" fmla="*/ 112 w 3750"/>
                <a:gd name="T113" fmla="*/ 2887 h 3108"/>
                <a:gd name="T114" fmla="*/ 137 w 3750"/>
                <a:gd name="T115" fmla="*/ 693 h 3108"/>
                <a:gd name="T116" fmla="*/ 1037 w 3750"/>
                <a:gd name="T117" fmla="*/ 643 h 3108"/>
                <a:gd name="T118" fmla="*/ 1048 w 3750"/>
                <a:gd name="T119" fmla="*/ 610 h 3108"/>
                <a:gd name="T120" fmla="*/ 1046 w 3750"/>
                <a:gd name="T121" fmla="*/ 209 h 3108"/>
                <a:gd name="T122" fmla="*/ 1002 w 3750"/>
                <a:gd name="T123" fmla="*/ 193 h 3108"/>
                <a:gd name="T124" fmla="*/ 989 w 3750"/>
                <a:gd name="T125" fmla="*/ 21 h 3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50" h="3108">
                  <a:moveTo>
                    <a:pt x="1657" y="2302"/>
                  </a:moveTo>
                  <a:lnTo>
                    <a:pt x="1640" y="2305"/>
                  </a:lnTo>
                  <a:lnTo>
                    <a:pt x="1626" y="2315"/>
                  </a:lnTo>
                  <a:lnTo>
                    <a:pt x="1617" y="2328"/>
                  </a:lnTo>
                  <a:lnTo>
                    <a:pt x="1613" y="2345"/>
                  </a:lnTo>
                  <a:lnTo>
                    <a:pt x="1613" y="2844"/>
                  </a:lnTo>
                  <a:lnTo>
                    <a:pt x="1617" y="2860"/>
                  </a:lnTo>
                  <a:lnTo>
                    <a:pt x="1626" y="2874"/>
                  </a:lnTo>
                  <a:lnTo>
                    <a:pt x="1640" y="2883"/>
                  </a:lnTo>
                  <a:lnTo>
                    <a:pt x="1657" y="2887"/>
                  </a:lnTo>
                  <a:lnTo>
                    <a:pt x="2155" y="2887"/>
                  </a:lnTo>
                  <a:lnTo>
                    <a:pt x="2171" y="2883"/>
                  </a:lnTo>
                  <a:lnTo>
                    <a:pt x="2184" y="2874"/>
                  </a:lnTo>
                  <a:lnTo>
                    <a:pt x="2193" y="2860"/>
                  </a:lnTo>
                  <a:lnTo>
                    <a:pt x="2197" y="2844"/>
                  </a:lnTo>
                  <a:lnTo>
                    <a:pt x="2197" y="2345"/>
                  </a:lnTo>
                  <a:lnTo>
                    <a:pt x="2193" y="2328"/>
                  </a:lnTo>
                  <a:lnTo>
                    <a:pt x="2184" y="2315"/>
                  </a:lnTo>
                  <a:lnTo>
                    <a:pt x="2171" y="2305"/>
                  </a:lnTo>
                  <a:lnTo>
                    <a:pt x="2155" y="2302"/>
                  </a:lnTo>
                  <a:lnTo>
                    <a:pt x="1657" y="2302"/>
                  </a:lnTo>
                  <a:close/>
                  <a:moveTo>
                    <a:pt x="2924" y="2210"/>
                  </a:moveTo>
                  <a:lnTo>
                    <a:pt x="2907" y="2213"/>
                  </a:lnTo>
                  <a:lnTo>
                    <a:pt x="2893" y="2222"/>
                  </a:lnTo>
                  <a:lnTo>
                    <a:pt x="2884" y="2236"/>
                  </a:lnTo>
                  <a:lnTo>
                    <a:pt x="2880" y="2253"/>
                  </a:lnTo>
                  <a:lnTo>
                    <a:pt x="2880" y="2575"/>
                  </a:lnTo>
                  <a:lnTo>
                    <a:pt x="2884" y="2592"/>
                  </a:lnTo>
                  <a:lnTo>
                    <a:pt x="2893" y="2605"/>
                  </a:lnTo>
                  <a:lnTo>
                    <a:pt x="2907" y="2615"/>
                  </a:lnTo>
                  <a:lnTo>
                    <a:pt x="2924" y="2618"/>
                  </a:lnTo>
                  <a:lnTo>
                    <a:pt x="3245" y="2618"/>
                  </a:lnTo>
                  <a:lnTo>
                    <a:pt x="3262" y="2615"/>
                  </a:lnTo>
                  <a:lnTo>
                    <a:pt x="3276" y="2605"/>
                  </a:lnTo>
                  <a:lnTo>
                    <a:pt x="3285" y="2592"/>
                  </a:lnTo>
                  <a:lnTo>
                    <a:pt x="3288" y="2575"/>
                  </a:lnTo>
                  <a:lnTo>
                    <a:pt x="3288" y="2253"/>
                  </a:lnTo>
                  <a:lnTo>
                    <a:pt x="3285" y="2236"/>
                  </a:lnTo>
                  <a:lnTo>
                    <a:pt x="3276" y="2222"/>
                  </a:lnTo>
                  <a:lnTo>
                    <a:pt x="3262" y="2213"/>
                  </a:lnTo>
                  <a:lnTo>
                    <a:pt x="3245" y="2210"/>
                  </a:lnTo>
                  <a:lnTo>
                    <a:pt x="2924" y="2210"/>
                  </a:lnTo>
                  <a:close/>
                  <a:moveTo>
                    <a:pt x="502" y="2210"/>
                  </a:moveTo>
                  <a:lnTo>
                    <a:pt x="487" y="2213"/>
                  </a:lnTo>
                  <a:lnTo>
                    <a:pt x="473" y="2222"/>
                  </a:lnTo>
                  <a:lnTo>
                    <a:pt x="463" y="2236"/>
                  </a:lnTo>
                  <a:lnTo>
                    <a:pt x="460" y="2253"/>
                  </a:lnTo>
                  <a:lnTo>
                    <a:pt x="460" y="2575"/>
                  </a:lnTo>
                  <a:lnTo>
                    <a:pt x="463" y="2592"/>
                  </a:lnTo>
                  <a:lnTo>
                    <a:pt x="473" y="2605"/>
                  </a:lnTo>
                  <a:lnTo>
                    <a:pt x="487" y="2615"/>
                  </a:lnTo>
                  <a:lnTo>
                    <a:pt x="502" y="2618"/>
                  </a:lnTo>
                  <a:lnTo>
                    <a:pt x="824" y="2618"/>
                  </a:lnTo>
                  <a:lnTo>
                    <a:pt x="841" y="2615"/>
                  </a:lnTo>
                  <a:lnTo>
                    <a:pt x="855" y="2605"/>
                  </a:lnTo>
                  <a:lnTo>
                    <a:pt x="864" y="2592"/>
                  </a:lnTo>
                  <a:lnTo>
                    <a:pt x="867" y="2575"/>
                  </a:lnTo>
                  <a:lnTo>
                    <a:pt x="867" y="2253"/>
                  </a:lnTo>
                  <a:lnTo>
                    <a:pt x="864" y="2236"/>
                  </a:lnTo>
                  <a:lnTo>
                    <a:pt x="855" y="2222"/>
                  </a:lnTo>
                  <a:lnTo>
                    <a:pt x="841" y="2213"/>
                  </a:lnTo>
                  <a:lnTo>
                    <a:pt x="824" y="2210"/>
                  </a:lnTo>
                  <a:lnTo>
                    <a:pt x="502" y="2210"/>
                  </a:lnTo>
                  <a:close/>
                  <a:moveTo>
                    <a:pt x="2924" y="1665"/>
                  </a:moveTo>
                  <a:lnTo>
                    <a:pt x="2907" y="1668"/>
                  </a:lnTo>
                  <a:lnTo>
                    <a:pt x="2893" y="1677"/>
                  </a:lnTo>
                  <a:lnTo>
                    <a:pt x="2884" y="1691"/>
                  </a:lnTo>
                  <a:lnTo>
                    <a:pt x="2880" y="1707"/>
                  </a:lnTo>
                  <a:lnTo>
                    <a:pt x="2880" y="2029"/>
                  </a:lnTo>
                  <a:lnTo>
                    <a:pt x="2884" y="2046"/>
                  </a:lnTo>
                  <a:lnTo>
                    <a:pt x="2893" y="2060"/>
                  </a:lnTo>
                  <a:lnTo>
                    <a:pt x="2907" y="2069"/>
                  </a:lnTo>
                  <a:lnTo>
                    <a:pt x="2924" y="2072"/>
                  </a:lnTo>
                  <a:lnTo>
                    <a:pt x="3245" y="2072"/>
                  </a:lnTo>
                  <a:lnTo>
                    <a:pt x="3262" y="2069"/>
                  </a:lnTo>
                  <a:lnTo>
                    <a:pt x="3276" y="2060"/>
                  </a:lnTo>
                  <a:lnTo>
                    <a:pt x="3285" y="2046"/>
                  </a:lnTo>
                  <a:lnTo>
                    <a:pt x="3288" y="2029"/>
                  </a:lnTo>
                  <a:lnTo>
                    <a:pt x="3288" y="1707"/>
                  </a:lnTo>
                  <a:lnTo>
                    <a:pt x="3285" y="1691"/>
                  </a:lnTo>
                  <a:lnTo>
                    <a:pt x="3276" y="1677"/>
                  </a:lnTo>
                  <a:lnTo>
                    <a:pt x="3262" y="1668"/>
                  </a:lnTo>
                  <a:lnTo>
                    <a:pt x="3245" y="1665"/>
                  </a:lnTo>
                  <a:lnTo>
                    <a:pt x="2924" y="1665"/>
                  </a:lnTo>
                  <a:close/>
                  <a:moveTo>
                    <a:pt x="502" y="1665"/>
                  </a:moveTo>
                  <a:lnTo>
                    <a:pt x="487" y="1668"/>
                  </a:lnTo>
                  <a:lnTo>
                    <a:pt x="473" y="1677"/>
                  </a:lnTo>
                  <a:lnTo>
                    <a:pt x="463" y="1691"/>
                  </a:lnTo>
                  <a:lnTo>
                    <a:pt x="460" y="1707"/>
                  </a:lnTo>
                  <a:lnTo>
                    <a:pt x="460" y="2029"/>
                  </a:lnTo>
                  <a:lnTo>
                    <a:pt x="463" y="2046"/>
                  </a:lnTo>
                  <a:lnTo>
                    <a:pt x="473" y="2060"/>
                  </a:lnTo>
                  <a:lnTo>
                    <a:pt x="487" y="2069"/>
                  </a:lnTo>
                  <a:lnTo>
                    <a:pt x="502" y="2072"/>
                  </a:lnTo>
                  <a:lnTo>
                    <a:pt x="824" y="2072"/>
                  </a:lnTo>
                  <a:lnTo>
                    <a:pt x="841" y="2069"/>
                  </a:lnTo>
                  <a:lnTo>
                    <a:pt x="855" y="2060"/>
                  </a:lnTo>
                  <a:lnTo>
                    <a:pt x="864" y="2046"/>
                  </a:lnTo>
                  <a:lnTo>
                    <a:pt x="867" y="2029"/>
                  </a:lnTo>
                  <a:lnTo>
                    <a:pt x="867" y="1707"/>
                  </a:lnTo>
                  <a:lnTo>
                    <a:pt x="864" y="1691"/>
                  </a:lnTo>
                  <a:lnTo>
                    <a:pt x="855" y="1677"/>
                  </a:lnTo>
                  <a:lnTo>
                    <a:pt x="841" y="1668"/>
                  </a:lnTo>
                  <a:lnTo>
                    <a:pt x="824" y="1665"/>
                  </a:lnTo>
                  <a:lnTo>
                    <a:pt x="502" y="1665"/>
                  </a:lnTo>
                  <a:close/>
                  <a:moveTo>
                    <a:pt x="2107" y="1654"/>
                  </a:moveTo>
                  <a:lnTo>
                    <a:pt x="2090" y="1658"/>
                  </a:lnTo>
                  <a:lnTo>
                    <a:pt x="2076" y="1667"/>
                  </a:lnTo>
                  <a:lnTo>
                    <a:pt x="2067" y="1681"/>
                  </a:lnTo>
                  <a:lnTo>
                    <a:pt x="2063" y="1698"/>
                  </a:lnTo>
                  <a:lnTo>
                    <a:pt x="2063" y="2020"/>
                  </a:lnTo>
                  <a:lnTo>
                    <a:pt x="2067" y="2036"/>
                  </a:lnTo>
                  <a:lnTo>
                    <a:pt x="2076" y="2050"/>
                  </a:lnTo>
                  <a:lnTo>
                    <a:pt x="2090" y="2059"/>
                  </a:lnTo>
                  <a:lnTo>
                    <a:pt x="2107" y="2062"/>
                  </a:lnTo>
                  <a:lnTo>
                    <a:pt x="2428" y="2062"/>
                  </a:lnTo>
                  <a:lnTo>
                    <a:pt x="2445" y="2059"/>
                  </a:lnTo>
                  <a:lnTo>
                    <a:pt x="2458" y="2050"/>
                  </a:lnTo>
                  <a:lnTo>
                    <a:pt x="2468" y="2036"/>
                  </a:lnTo>
                  <a:lnTo>
                    <a:pt x="2471" y="2020"/>
                  </a:lnTo>
                  <a:lnTo>
                    <a:pt x="2471" y="1698"/>
                  </a:lnTo>
                  <a:lnTo>
                    <a:pt x="2468" y="1681"/>
                  </a:lnTo>
                  <a:lnTo>
                    <a:pt x="2458" y="1667"/>
                  </a:lnTo>
                  <a:lnTo>
                    <a:pt x="2445" y="1658"/>
                  </a:lnTo>
                  <a:lnTo>
                    <a:pt x="2428" y="1654"/>
                  </a:lnTo>
                  <a:lnTo>
                    <a:pt x="2107" y="1654"/>
                  </a:lnTo>
                  <a:close/>
                  <a:moveTo>
                    <a:pt x="1375" y="1654"/>
                  </a:moveTo>
                  <a:lnTo>
                    <a:pt x="1358" y="1658"/>
                  </a:lnTo>
                  <a:lnTo>
                    <a:pt x="1344" y="1667"/>
                  </a:lnTo>
                  <a:lnTo>
                    <a:pt x="1335" y="1681"/>
                  </a:lnTo>
                  <a:lnTo>
                    <a:pt x="1332" y="1698"/>
                  </a:lnTo>
                  <a:lnTo>
                    <a:pt x="1332" y="2020"/>
                  </a:lnTo>
                  <a:lnTo>
                    <a:pt x="1335" y="2036"/>
                  </a:lnTo>
                  <a:lnTo>
                    <a:pt x="1344" y="2050"/>
                  </a:lnTo>
                  <a:lnTo>
                    <a:pt x="1358" y="2059"/>
                  </a:lnTo>
                  <a:lnTo>
                    <a:pt x="1375" y="2062"/>
                  </a:lnTo>
                  <a:lnTo>
                    <a:pt x="1697" y="2062"/>
                  </a:lnTo>
                  <a:lnTo>
                    <a:pt x="1713" y="2059"/>
                  </a:lnTo>
                  <a:lnTo>
                    <a:pt x="1726" y="2050"/>
                  </a:lnTo>
                  <a:lnTo>
                    <a:pt x="1736" y="2036"/>
                  </a:lnTo>
                  <a:lnTo>
                    <a:pt x="1740" y="2020"/>
                  </a:lnTo>
                  <a:lnTo>
                    <a:pt x="1740" y="1698"/>
                  </a:lnTo>
                  <a:lnTo>
                    <a:pt x="1736" y="1681"/>
                  </a:lnTo>
                  <a:lnTo>
                    <a:pt x="1726" y="1667"/>
                  </a:lnTo>
                  <a:lnTo>
                    <a:pt x="1713" y="1658"/>
                  </a:lnTo>
                  <a:lnTo>
                    <a:pt x="1697" y="1654"/>
                  </a:lnTo>
                  <a:lnTo>
                    <a:pt x="1375" y="1654"/>
                  </a:lnTo>
                  <a:close/>
                  <a:moveTo>
                    <a:pt x="2107" y="1109"/>
                  </a:moveTo>
                  <a:lnTo>
                    <a:pt x="2090" y="1112"/>
                  </a:lnTo>
                  <a:lnTo>
                    <a:pt x="2076" y="1121"/>
                  </a:lnTo>
                  <a:lnTo>
                    <a:pt x="2067" y="1135"/>
                  </a:lnTo>
                  <a:lnTo>
                    <a:pt x="2063" y="1152"/>
                  </a:lnTo>
                  <a:lnTo>
                    <a:pt x="2063" y="1474"/>
                  </a:lnTo>
                  <a:lnTo>
                    <a:pt x="2067" y="1491"/>
                  </a:lnTo>
                  <a:lnTo>
                    <a:pt x="2076" y="1505"/>
                  </a:lnTo>
                  <a:lnTo>
                    <a:pt x="2090" y="1514"/>
                  </a:lnTo>
                  <a:lnTo>
                    <a:pt x="2107" y="1517"/>
                  </a:lnTo>
                  <a:lnTo>
                    <a:pt x="2428" y="1517"/>
                  </a:lnTo>
                  <a:lnTo>
                    <a:pt x="2445" y="1514"/>
                  </a:lnTo>
                  <a:lnTo>
                    <a:pt x="2458" y="1505"/>
                  </a:lnTo>
                  <a:lnTo>
                    <a:pt x="2468" y="1491"/>
                  </a:lnTo>
                  <a:lnTo>
                    <a:pt x="2471" y="1474"/>
                  </a:lnTo>
                  <a:lnTo>
                    <a:pt x="2471" y="1152"/>
                  </a:lnTo>
                  <a:lnTo>
                    <a:pt x="2468" y="1135"/>
                  </a:lnTo>
                  <a:lnTo>
                    <a:pt x="2458" y="1121"/>
                  </a:lnTo>
                  <a:lnTo>
                    <a:pt x="2445" y="1112"/>
                  </a:lnTo>
                  <a:lnTo>
                    <a:pt x="2428" y="1109"/>
                  </a:lnTo>
                  <a:lnTo>
                    <a:pt x="2107" y="1109"/>
                  </a:lnTo>
                  <a:close/>
                  <a:moveTo>
                    <a:pt x="1375" y="1109"/>
                  </a:moveTo>
                  <a:lnTo>
                    <a:pt x="1358" y="1112"/>
                  </a:lnTo>
                  <a:lnTo>
                    <a:pt x="1344" y="1121"/>
                  </a:lnTo>
                  <a:lnTo>
                    <a:pt x="1335" y="1135"/>
                  </a:lnTo>
                  <a:lnTo>
                    <a:pt x="1332" y="1152"/>
                  </a:lnTo>
                  <a:lnTo>
                    <a:pt x="1332" y="1474"/>
                  </a:lnTo>
                  <a:lnTo>
                    <a:pt x="1335" y="1491"/>
                  </a:lnTo>
                  <a:lnTo>
                    <a:pt x="1344" y="1505"/>
                  </a:lnTo>
                  <a:lnTo>
                    <a:pt x="1358" y="1514"/>
                  </a:lnTo>
                  <a:lnTo>
                    <a:pt x="1375" y="1517"/>
                  </a:lnTo>
                  <a:lnTo>
                    <a:pt x="1697" y="1517"/>
                  </a:lnTo>
                  <a:lnTo>
                    <a:pt x="1713" y="1514"/>
                  </a:lnTo>
                  <a:lnTo>
                    <a:pt x="1726" y="1505"/>
                  </a:lnTo>
                  <a:lnTo>
                    <a:pt x="1736" y="1491"/>
                  </a:lnTo>
                  <a:lnTo>
                    <a:pt x="1740" y="1474"/>
                  </a:lnTo>
                  <a:lnTo>
                    <a:pt x="1740" y="1152"/>
                  </a:lnTo>
                  <a:lnTo>
                    <a:pt x="1736" y="1135"/>
                  </a:lnTo>
                  <a:lnTo>
                    <a:pt x="1726" y="1121"/>
                  </a:lnTo>
                  <a:lnTo>
                    <a:pt x="1713" y="1112"/>
                  </a:lnTo>
                  <a:lnTo>
                    <a:pt x="1697" y="1109"/>
                  </a:lnTo>
                  <a:lnTo>
                    <a:pt x="1375" y="1109"/>
                  </a:lnTo>
                  <a:close/>
                  <a:moveTo>
                    <a:pt x="2924" y="1099"/>
                  </a:moveTo>
                  <a:lnTo>
                    <a:pt x="2907" y="1103"/>
                  </a:lnTo>
                  <a:lnTo>
                    <a:pt x="2893" y="1112"/>
                  </a:lnTo>
                  <a:lnTo>
                    <a:pt x="2884" y="1126"/>
                  </a:lnTo>
                  <a:lnTo>
                    <a:pt x="2880" y="1142"/>
                  </a:lnTo>
                  <a:lnTo>
                    <a:pt x="2880" y="1465"/>
                  </a:lnTo>
                  <a:lnTo>
                    <a:pt x="2884" y="1481"/>
                  </a:lnTo>
                  <a:lnTo>
                    <a:pt x="2893" y="1495"/>
                  </a:lnTo>
                  <a:lnTo>
                    <a:pt x="2907" y="1504"/>
                  </a:lnTo>
                  <a:lnTo>
                    <a:pt x="2924" y="1507"/>
                  </a:lnTo>
                  <a:lnTo>
                    <a:pt x="3245" y="1507"/>
                  </a:lnTo>
                  <a:lnTo>
                    <a:pt x="3262" y="1504"/>
                  </a:lnTo>
                  <a:lnTo>
                    <a:pt x="3276" y="1495"/>
                  </a:lnTo>
                  <a:lnTo>
                    <a:pt x="3285" y="1481"/>
                  </a:lnTo>
                  <a:lnTo>
                    <a:pt x="3288" y="1465"/>
                  </a:lnTo>
                  <a:lnTo>
                    <a:pt x="3288" y="1142"/>
                  </a:lnTo>
                  <a:lnTo>
                    <a:pt x="3285" y="1126"/>
                  </a:lnTo>
                  <a:lnTo>
                    <a:pt x="3276" y="1112"/>
                  </a:lnTo>
                  <a:lnTo>
                    <a:pt x="3262" y="1103"/>
                  </a:lnTo>
                  <a:lnTo>
                    <a:pt x="3245" y="1099"/>
                  </a:lnTo>
                  <a:lnTo>
                    <a:pt x="2924" y="1099"/>
                  </a:lnTo>
                  <a:close/>
                  <a:moveTo>
                    <a:pt x="502" y="1099"/>
                  </a:moveTo>
                  <a:lnTo>
                    <a:pt x="487" y="1103"/>
                  </a:lnTo>
                  <a:lnTo>
                    <a:pt x="473" y="1112"/>
                  </a:lnTo>
                  <a:lnTo>
                    <a:pt x="463" y="1126"/>
                  </a:lnTo>
                  <a:lnTo>
                    <a:pt x="460" y="1142"/>
                  </a:lnTo>
                  <a:lnTo>
                    <a:pt x="460" y="1465"/>
                  </a:lnTo>
                  <a:lnTo>
                    <a:pt x="463" y="1481"/>
                  </a:lnTo>
                  <a:lnTo>
                    <a:pt x="473" y="1495"/>
                  </a:lnTo>
                  <a:lnTo>
                    <a:pt x="487" y="1504"/>
                  </a:lnTo>
                  <a:lnTo>
                    <a:pt x="502" y="1507"/>
                  </a:lnTo>
                  <a:lnTo>
                    <a:pt x="824" y="1507"/>
                  </a:lnTo>
                  <a:lnTo>
                    <a:pt x="841" y="1504"/>
                  </a:lnTo>
                  <a:lnTo>
                    <a:pt x="855" y="1495"/>
                  </a:lnTo>
                  <a:lnTo>
                    <a:pt x="864" y="1481"/>
                  </a:lnTo>
                  <a:lnTo>
                    <a:pt x="867" y="1465"/>
                  </a:lnTo>
                  <a:lnTo>
                    <a:pt x="867" y="1142"/>
                  </a:lnTo>
                  <a:lnTo>
                    <a:pt x="864" y="1126"/>
                  </a:lnTo>
                  <a:lnTo>
                    <a:pt x="855" y="1112"/>
                  </a:lnTo>
                  <a:lnTo>
                    <a:pt x="841" y="1103"/>
                  </a:lnTo>
                  <a:lnTo>
                    <a:pt x="824" y="1099"/>
                  </a:lnTo>
                  <a:lnTo>
                    <a:pt x="502" y="1099"/>
                  </a:lnTo>
                  <a:close/>
                  <a:moveTo>
                    <a:pt x="2107" y="544"/>
                  </a:moveTo>
                  <a:lnTo>
                    <a:pt x="2090" y="548"/>
                  </a:lnTo>
                  <a:lnTo>
                    <a:pt x="2076" y="557"/>
                  </a:lnTo>
                  <a:lnTo>
                    <a:pt x="2067" y="571"/>
                  </a:lnTo>
                  <a:lnTo>
                    <a:pt x="2063" y="587"/>
                  </a:lnTo>
                  <a:lnTo>
                    <a:pt x="2063" y="909"/>
                  </a:lnTo>
                  <a:lnTo>
                    <a:pt x="2067" y="926"/>
                  </a:lnTo>
                  <a:lnTo>
                    <a:pt x="2076" y="940"/>
                  </a:lnTo>
                  <a:lnTo>
                    <a:pt x="2090" y="949"/>
                  </a:lnTo>
                  <a:lnTo>
                    <a:pt x="2107" y="952"/>
                  </a:lnTo>
                  <a:lnTo>
                    <a:pt x="2428" y="952"/>
                  </a:lnTo>
                  <a:lnTo>
                    <a:pt x="2445" y="949"/>
                  </a:lnTo>
                  <a:lnTo>
                    <a:pt x="2458" y="940"/>
                  </a:lnTo>
                  <a:lnTo>
                    <a:pt x="2468" y="926"/>
                  </a:lnTo>
                  <a:lnTo>
                    <a:pt x="2471" y="909"/>
                  </a:lnTo>
                  <a:lnTo>
                    <a:pt x="2471" y="587"/>
                  </a:lnTo>
                  <a:lnTo>
                    <a:pt x="2468" y="571"/>
                  </a:lnTo>
                  <a:lnTo>
                    <a:pt x="2458" y="557"/>
                  </a:lnTo>
                  <a:lnTo>
                    <a:pt x="2445" y="548"/>
                  </a:lnTo>
                  <a:lnTo>
                    <a:pt x="2428" y="544"/>
                  </a:lnTo>
                  <a:lnTo>
                    <a:pt x="2107" y="544"/>
                  </a:lnTo>
                  <a:close/>
                  <a:moveTo>
                    <a:pt x="1375" y="544"/>
                  </a:moveTo>
                  <a:lnTo>
                    <a:pt x="1358" y="548"/>
                  </a:lnTo>
                  <a:lnTo>
                    <a:pt x="1344" y="557"/>
                  </a:lnTo>
                  <a:lnTo>
                    <a:pt x="1335" y="571"/>
                  </a:lnTo>
                  <a:lnTo>
                    <a:pt x="1332" y="587"/>
                  </a:lnTo>
                  <a:lnTo>
                    <a:pt x="1332" y="909"/>
                  </a:lnTo>
                  <a:lnTo>
                    <a:pt x="1335" y="926"/>
                  </a:lnTo>
                  <a:lnTo>
                    <a:pt x="1344" y="940"/>
                  </a:lnTo>
                  <a:lnTo>
                    <a:pt x="1358" y="949"/>
                  </a:lnTo>
                  <a:lnTo>
                    <a:pt x="1375" y="952"/>
                  </a:lnTo>
                  <a:lnTo>
                    <a:pt x="1697" y="952"/>
                  </a:lnTo>
                  <a:lnTo>
                    <a:pt x="1713" y="949"/>
                  </a:lnTo>
                  <a:lnTo>
                    <a:pt x="1726" y="940"/>
                  </a:lnTo>
                  <a:lnTo>
                    <a:pt x="1736" y="926"/>
                  </a:lnTo>
                  <a:lnTo>
                    <a:pt x="1740" y="909"/>
                  </a:lnTo>
                  <a:lnTo>
                    <a:pt x="1740" y="587"/>
                  </a:lnTo>
                  <a:lnTo>
                    <a:pt x="1736" y="571"/>
                  </a:lnTo>
                  <a:lnTo>
                    <a:pt x="1726" y="557"/>
                  </a:lnTo>
                  <a:lnTo>
                    <a:pt x="1713" y="548"/>
                  </a:lnTo>
                  <a:lnTo>
                    <a:pt x="1697" y="544"/>
                  </a:lnTo>
                  <a:lnTo>
                    <a:pt x="1375" y="544"/>
                  </a:lnTo>
                  <a:close/>
                  <a:moveTo>
                    <a:pt x="1032" y="0"/>
                  </a:moveTo>
                  <a:lnTo>
                    <a:pt x="2770" y="0"/>
                  </a:lnTo>
                  <a:lnTo>
                    <a:pt x="2787" y="2"/>
                  </a:lnTo>
                  <a:lnTo>
                    <a:pt x="2801" y="10"/>
                  </a:lnTo>
                  <a:lnTo>
                    <a:pt x="2813" y="21"/>
                  </a:lnTo>
                  <a:lnTo>
                    <a:pt x="2820" y="36"/>
                  </a:lnTo>
                  <a:lnTo>
                    <a:pt x="2823" y="53"/>
                  </a:lnTo>
                  <a:lnTo>
                    <a:pt x="2823" y="149"/>
                  </a:lnTo>
                  <a:lnTo>
                    <a:pt x="2820" y="165"/>
                  </a:lnTo>
                  <a:lnTo>
                    <a:pt x="2813" y="180"/>
                  </a:lnTo>
                  <a:lnTo>
                    <a:pt x="2801" y="193"/>
                  </a:lnTo>
                  <a:lnTo>
                    <a:pt x="2787" y="200"/>
                  </a:lnTo>
                  <a:lnTo>
                    <a:pt x="2770" y="203"/>
                  </a:lnTo>
                  <a:lnTo>
                    <a:pt x="2764" y="203"/>
                  </a:lnTo>
                  <a:lnTo>
                    <a:pt x="2761" y="204"/>
                  </a:lnTo>
                  <a:lnTo>
                    <a:pt x="2757" y="204"/>
                  </a:lnTo>
                  <a:lnTo>
                    <a:pt x="2756" y="206"/>
                  </a:lnTo>
                  <a:lnTo>
                    <a:pt x="2755" y="208"/>
                  </a:lnTo>
                  <a:lnTo>
                    <a:pt x="2754" y="210"/>
                  </a:lnTo>
                  <a:lnTo>
                    <a:pt x="2754" y="211"/>
                  </a:lnTo>
                  <a:lnTo>
                    <a:pt x="2754" y="620"/>
                  </a:lnTo>
                  <a:lnTo>
                    <a:pt x="2754" y="621"/>
                  </a:lnTo>
                  <a:lnTo>
                    <a:pt x="2754" y="626"/>
                  </a:lnTo>
                  <a:lnTo>
                    <a:pt x="2756" y="632"/>
                  </a:lnTo>
                  <a:lnTo>
                    <a:pt x="2761" y="638"/>
                  </a:lnTo>
                  <a:lnTo>
                    <a:pt x="2768" y="643"/>
                  </a:lnTo>
                  <a:lnTo>
                    <a:pt x="2779" y="645"/>
                  </a:lnTo>
                  <a:lnTo>
                    <a:pt x="3528" y="645"/>
                  </a:lnTo>
                  <a:lnTo>
                    <a:pt x="3553" y="648"/>
                  </a:lnTo>
                  <a:lnTo>
                    <a:pt x="3575" y="659"/>
                  </a:lnTo>
                  <a:lnTo>
                    <a:pt x="3596" y="673"/>
                  </a:lnTo>
                  <a:lnTo>
                    <a:pt x="3611" y="693"/>
                  </a:lnTo>
                  <a:lnTo>
                    <a:pt x="3621" y="716"/>
                  </a:lnTo>
                  <a:lnTo>
                    <a:pt x="3624" y="742"/>
                  </a:lnTo>
                  <a:lnTo>
                    <a:pt x="3624" y="2859"/>
                  </a:lnTo>
                  <a:lnTo>
                    <a:pt x="3624" y="2860"/>
                  </a:lnTo>
                  <a:lnTo>
                    <a:pt x="3624" y="2865"/>
                  </a:lnTo>
                  <a:lnTo>
                    <a:pt x="3626" y="2871"/>
                  </a:lnTo>
                  <a:lnTo>
                    <a:pt x="3629" y="2878"/>
                  </a:lnTo>
                  <a:lnTo>
                    <a:pt x="3634" y="2883"/>
                  </a:lnTo>
                  <a:lnTo>
                    <a:pt x="3640" y="2888"/>
                  </a:lnTo>
                  <a:lnTo>
                    <a:pt x="3649" y="2889"/>
                  </a:lnTo>
                  <a:lnTo>
                    <a:pt x="3696" y="2889"/>
                  </a:lnTo>
                  <a:lnTo>
                    <a:pt x="3713" y="2892"/>
                  </a:lnTo>
                  <a:lnTo>
                    <a:pt x="3728" y="2899"/>
                  </a:lnTo>
                  <a:lnTo>
                    <a:pt x="3739" y="2912"/>
                  </a:lnTo>
                  <a:lnTo>
                    <a:pt x="3747" y="2926"/>
                  </a:lnTo>
                  <a:lnTo>
                    <a:pt x="3750" y="2943"/>
                  </a:lnTo>
                  <a:lnTo>
                    <a:pt x="3750" y="3055"/>
                  </a:lnTo>
                  <a:lnTo>
                    <a:pt x="3747" y="3072"/>
                  </a:lnTo>
                  <a:lnTo>
                    <a:pt x="3739" y="3087"/>
                  </a:lnTo>
                  <a:lnTo>
                    <a:pt x="3728" y="3098"/>
                  </a:lnTo>
                  <a:lnTo>
                    <a:pt x="3713" y="3106"/>
                  </a:lnTo>
                  <a:lnTo>
                    <a:pt x="3696" y="3108"/>
                  </a:lnTo>
                  <a:lnTo>
                    <a:pt x="54" y="3108"/>
                  </a:lnTo>
                  <a:lnTo>
                    <a:pt x="36" y="3106"/>
                  </a:lnTo>
                  <a:lnTo>
                    <a:pt x="22" y="3098"/>
                  </a:lnTo>
                  <a:lnTo>
                    <a:pt x="10" y="3087"/>
                  </a:lnTo>
                  <a:lnTo>
                    <a:pt x="2" y="3072"/>
                  </a:lnTo>
                  <a:lnTo>
                    <a:pt x="0" y="3055"/>
                  </a:lnTo>
                  <a:lnTo>
                    <a:pt x="0" y="2943"/>
                  </a:lnTo>
                  <a:lnTo>
                    <a:pt x="2" y="2926"/>
                  </a:lnTo>
                  <a:lnTo>
                    <a:pt x="10" y="2912"/>
                  </a:lnTo>
                  <a:lnTo>
                    <a:pt x="22" y="2899"/>
                  </a:lnTo>
                  <a:lnTo>
                    <a:pt x="36" y="2892"/>
                  </a:lnTo>
                  <a:lnTo>
                    <a:pt x="54" y="2889"/>
                  </a:lnTo>
                  <a:lnTo>
                    <a:pt x="91" y="2889"/>
                  </a:lnTo>
                  <a:lnTo>
                    <a:pt x="103" y="2889"/>
                  </a:lnTo>
                  <a:lnTo>
                    <a:pt x="112" y="2887"/>
                  </a:lnTo>
                  <a:lnTo>
                    <a:pt x="118" y="2882"/>
                  </a:lnTo>
                  <a:lnTo>
                    <a:pt x="122" y="2876"/>
                  </a:lnTo>
                  <a:lnTo>
                    <a:pt x="124" y="2866"/>
                  </a:lnTo>
                  <a:lnTo>
                    <a:pt x="124" y="742"/>
                  </a:lnTo>
                  <a:lnTo>
                    <a:pt x="128" y="716"/>
                  </a:lnTo>
                  <a:lnTo>
                    <a:pt x="137" y="693"/>
                  </a:lnTo>
                  <a:lnTo>
                    <a:pt x="152" y="673"/>
                  </a:lnTo>
                  <a:lnTo>
                    <a:pt x="172" y="659"/>
                  </a:lnTo>
                  <a:lnTo>
                    <a:pt x="195" y="648"/>
                  </a:lnTo>
                  <a:lnTo>
                    <a:pt x="220" y="645"/>
                  </a:lnTo>
                  <a:lnTo>
                    <a:pt x="1028" y="645"/>
                  </a:lnTo>
                  <a:lnTo>
                    <a:pt x="1037" y="643"/>
                  </a:lnTo>
                  <a:lnTo>
                    <a:pt x="1043" y="638"/>
                  </a:lnTo>
                  <a:lnTo>
                    <a:pt x="1046" y="631"/>
                  </a:lnTo>
                  <a:lnTo>
                    <a:pt x="1047" y="623"/>
                  </a:lnTo>
                  <a:lnTo>
                    <a:pt x="1048" y="616"/>
                  </a:lnTo>
                  <a:lnTo>
                    <a:pt x="1048" y="612"/>
                  </a:lnTo>
                  <a:lnTo>
                    <a:pt x="1048" y="610"/>
                  </a:lnTo>
                  <a:lnTo>
                    <a:pt x="1048" y="218"/>
                  </a:lnTo>
                  <a:lnTo>
                    <a:pt x="1048" y="217"/>
                  </a:lnTo>
                  <a:lnTo>
                    <a:pt x="1048" y="216"/>
                  </a:lnTo>
                  <a:lnTo>
                    <a:pt x="1048" y="213"/>
                  </a:lnTo>
                  <a:lnTo>
                    <a:pt x="1047" y="211"/>
                  </a:lnTo>
                  <a:lnTo>
                    <a:pt x="1046" y="209"/>
                  </a:lnTo>
                  <a:lnTo>
                    <a:pt x="1044" y="206"/>
                  </a:lnTo>
                  <a:lnTo>
                    <a:pt x="1041" y="204"/>
                  </a:lnTo>
                  <a:lnTo>
                    <a:pt x="1037" y="203"/>
                  </a:lnTo>
                  <a:lnTo>
                    <a:pt x="1032" y="203"/>
                  </a:lnTo>
                  <a:lnTo>
                    <a:pt x="1015" y="200"/>
                  </a:lnTo>
                  <a:lnTo>
                    <a:pt x="1002" y="193"/>
                  </a:lnTo>
                  <a:lnTo>
                    <a:pt x="989" y="180"/>
                  </a:lnTo>
                  <a:lnTo>
                    <a:pt x="982" y="165"/>
                  </a:lnTo>
                  <a:lnTo>
                    <a:pt x="979" y="149"/>
                  </a:lnTo>
                  <a:lnTo>
                    <a:pt x="979" y="53"/>
                  </a:lnTo>
                  <a:lnTo>
                    <a:pt x="982" y="36"/>
                  </a:lnTo>
                  <a:lnTo>
                    <a:pt x="989" y="21"/>
                  </a:lnTo>
                  <a:lnTo>
                    <a:pt x="1002" y="10"/>
                  </a:lnTo>
                  <a:lnTo>
                    <a:pt x="1015" y="2"/>
                  </a:lnTo>
                  <a:lnTo>
                    <a:pt x="1032" y="0"/>
                  </a:lnTo>
                  <a:close/>
                </a:path>
              </a:pathLst>
            </a:custGeom>
            <a:solidFill>
              <a:srgbClr val="024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                 </a:t>
              </a:r>
            </a:p>
          </p:txBody>
        </p:sp>
        <p:sp>
          <p:nvSpPr>
            <p:cNvPr id="597" name="Rectangle 596">
              <a:extLst>
                <a:ext uri="{FF2B5EF4-FFF2-40B4-BE49-F238E27FC236}">
                  <a16:creationId xmlns:a16="http://schemas.microsoft.com/office/drawing/2014/main" id="{828F9288-2A57-4952-955D-28CECAF52DF1}"/>
                </a:ext>
              </a:extLst>
            </p:cNvPr>
            <p:cNvSpPr/>
            <p:nvPr/>
          </p:nvSpPr>
          <p:spPr>
            <a:xfrm>
              <a:off x="464532" y="1381912"/>
              <a:ext cx="3080502" cy="2155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02467C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Abidjan, Côte d’Ivoire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02467C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Office</a:t>
              </a:r>
            </a:p>
          </p:txBody>
        </p:sp>
        <p:sp>
          <p:nvSpPr>
            <p:cNvPr id="598" name="Oval 597">
              <a:extLst>
                <a:ext uri="{FF2B5EF4-FFF2-40B4-BE49-F238E27FC236}">
                  <a16:creationId xmlns:a16="http://schemas.microsoft.com/office/drawing/2014/main" id="{7C1768A4-0825-4A98-B3EC-F3BEB83C9299}"/>
                </a:ext>
              </a:extLst>
            </p:cNvPr>
            <p:cNvSpPr/>
            <p:nvPr/>
          </p:nvSpPr>
          <p:spPr>
            <a:xfrm>
              <a:off x="4722094" y="2994043"/>
              <a:ext cx="113580" cy="112704"/>
            </a:xfrm>
            <a:prstGeom prst="ellipse">
              <a:avLst/>
            </a:prstGeom>
            <a:solidFill>
              <a:srgbClr val="02467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02" name="Rectangle 601">
              <a:extLst>
                <a:ext uri="{FF2B5EF4-FFF2-40B4-BE49-F238E27FC236}">
                  <a16:creationId xmlns:a16="http://schemas.microsoft.com/office/drawing/2014/main" id="{BAF3521B-8CD6-4E9C-BB39-174E212D44FC}"/>
                </a:ext>
              </a:extLst>
            </p:cNvPr>
            <p:cNvSpPr/>
            <p:nvPr/>
          </p:nvSpPr>
          <p:spPr>
            <a:xfrm>
              <a:off x="-141138" y="1654932"/>
              <a:ext cx="3719691" cy="2124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Azito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460 MW</a:t>
              </a:r>
            </a:p>
          </p:txBody>
        </p:sp>
        <p:pic>
          <p:nvPicPr>
            <p:cNvPr id="603" name="Picture 602">
              <a:extLst>
                <a:ext uri="{FF2B5EF4-FFF2-40B4-BE49-F238E27FC236}">
                  <a16:creationId xmlns:a16="http://schemas.microsoft.com/office/drawing/2014/main" id="{1EE2761E-D16A-419E-BB11-BFFBE403F0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53373" y="1641428"/>
              <a:ext cx="218968" cy="225407"/>
            </a:xfrm>
            <a:prstGeom prst="rect">
              <a:avLst/>
            </a:prstGeom>
          </p:spPr>
        </p:pic>
        <p:sp>
          <p:nvSpPr>
            <p:cNvPr id="605" name="Rectangle 604">
              <a:extLst>
                <a:ext uri="{FF2B5EF4-FFF2-40B4-BE49-F238E27FC236}">
                  <a16:creationId xmlns:a16="http://schemas.microsoft.com/office/drawing/2014/main" id="{A60CAC41-F540-47FA-96EE-E8A5F7A9B376}"/>
                </a:ext>
              </a:extLst>
            </p:cNvPr>
            <p:cNvSpPr/>
            <p:nvPr/>
          </p:nvSpPr>
          <p:spPr>
            <a:xfrm>
              <a:off x="-139100" y="1900408"/>
              <a:ext cx="3719691" cy="2124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Azito 4 Expansion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253 MW</a:t>
              </a:r>
            </a:p>
          </p:txBody>
        </p:sp>
        <p:pic>
          <p:nvPicPr>
            <p:cNvPr id="606" name="Picture 605">
              <a:extLst>
                <a:ext uri="{FF2B5EF4-FFF2-40B4-BE49-F238E27FC236}">
                  <a16:creationId xmlns:a16="http://schemas.microsoft.com/office/drawing/2014/main" id="{CBEB3248-1C9A-4BBB-9F59-62A72CD34D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61565" y="1900100"/>
              <a:ext cx="218968" cy="225407"/>
            </a:xfrm>
            <a:prstGeom prst="rect">
              <a:avLst/>
            </a:prstGeom>
          </p:spPr>
        </p:pic>
        <p:sp>
          <p:nvSpPr>
            <p:cNvPr id="607" name="Oval 606">
              <a:extLst>
                <a:ext uri="{FF2B5EF4-FFF2-40B4-BE49-F238E27FC236}">
                  <a16:creationId xmlns:a16="http://schemas.microsoft.com/office/drawing/2014/main" id="{85F63F7A-02BC-4FFA-8140-2DC27E5638C4}"/>
                </a:ext>
              </a:extLst>
            </p:cNvPr>
            <p:cNvSpPr/>
            <p:nvPr/>
          </p:nvSpPr>
          <p:spPr>
            <a:xfrm>
              <a:off x="4654442" y="3080332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08" name="Oval 607">
              <a:extLst>
                <a:ext uri="{FF2B5EF4-FFF2-40B4-BE49-F238E27FC236}">
                  <a16:creationId xmlns:a16="http://schemas.microsoft.com/office/drawing/2014/main" id="{51627613-3C4D-40F9-850D-C4633B67FB48}"/>
                </a:ext>
              </a:extLst>
            </p:cNvPr>
            <p:cNvSpPr/>
            <p:nvPr/>
          </p:nvSpPr>
          <p:spPr>
            <a:xfrm>
              <a:off x="4778840" y="3090522"/>
              <a:ext cx="113580" cy="11270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618" name="Group 617">
              <a:extLst>
                <a:ext uri="{FF2B5EF4-FFF2-40B4-BE49-F238E27FC236}">
                  <a16:creationId xmlns:a16="http://schemas.microsoft.com/office/drawing/2014/main" id="{309B0E6F-0C19-4172-B714-B4127DED14E1}"/>
                </a:ext>
              </a:extLst>
            </p:cNvPr>
            <p:cNvGrpSpPr/>
            <p:nvPr/>
          </p:nvGrpSpPr>
          <p:grpSpPr>
            <a:xfrm>
              <a:off x="7077241" y="2927365"/>
              <a:ext cx="3768625" cy="638650"/>
              <a:chOff x="5933428" y="5531149"/>
              <a:chExt cx="3583461" cy="611994"/>
            </a:xfrm>
          </p:grpSpPr>
          <p:grpSp>
            <p:nvGrpSpPr>
              <p:cNvPr id="619" name="Group 618">
                <a:extLst>
                  <a:ext uri="{FF2B5EF4-FFF2-40B4-BE49-F238E27FC236}">
                    <a16:creationId xmlns:a16="http://schemas.microsoft.com/office/drawing/2014/main" id="{D3BFA2E5-8539-44D9-BD33-B5E52FB09B34}"/>
                  </a:ext>
                </a:extLst>
              </p:cNvPr>
              <p:cNvGrpSpPr/>
              <p:nvPr/>
            </p:nvGrpSpPr>
            <p:grpSpPr>
              <a:xfrm>
                <a:off x="5933428" y="5593928"/>
                <a:ext cx="3583461" cy="549215"/>
                <a:chOff x="5936390" y="5565219"/>
                <a:chExt cx="3583461" cy="549215"/>
              </a:xfrm>
            </p:grpSpPr>
            <p:sp>
              <p:nvSpPr>
                <p:cNvPr id="621" name="Rectangle 620">
                  <a:extLst>
                    <a:ext uri="{FF2B5EF4-FFF2-40B4-BE49-F238E27FC236}">
                      <a16:creationId xmlns:a16="http://schemas.microsoft.com/office/drawing/2014/main" id="{05F0D453-8717-4EFD-AEA6-4A5AB8EEA8B5}"/>
                    </a:ext>
                  </a:extLst>
                </p:cNvPr>
                <p:cNvSpPr/>
                <p:nvPr/>
              </p:nvSpPr>
              <p:spPr>
                <a:xfrm>
                  <a:off x="6891851" y="5565219"/>
                  <a:ext cx="2628000" cy="21385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ZA" sz="11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7E6E6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Malindi | </a:t>
                  </a:r>
                  <a:r>
                    <a:rPr kumimoji="0" lang="en-ZA" sz="113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7E6E6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52 </a:t>
                  </a:r>
                  <a:r>
                    <a:rPr kumimoji="0" lang="en-ZA" sz="1133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E7E6E6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MWp</a:t>
                  </a:r>
                  <a:r>
                    <a:rPr kumimoji="0" lang="en-ZA" sz="1133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E7E6E6">
                          <a:lumMod val="50000"/>
                        </a:srgbClr>
                      </a:solidFill>
                      <a:effectLst/>
                      <a:uLnTx/>
                      <a:uFillTx/>
                      <a:latin typeface="Century Gothic"/>
                      <a:ea typeface="+mn-ea"/>
                      <a:cs typeface="+mn-cs"/>
                    </a:rPr>
                    <a:t> </a:t>
                  </a:r>
                </a:p>
              </p:txBody>
            </p:sp>
            <p:sp>
              <p:nvSpPr>
                <p:cNvPr id="622" name="Oval 621">
                  <a:extLst>
                    <a:ext uri="{FF2B5EF4-FFF2-40B4-BE49-F238E27FC236}">
                      <a16:creationId xmlns:a16="http://schemas.microsoft.com/office/drawing/2014/main" id="{267A5421-C1BD-4284-A833-86198617B04C}"/>
                    </a:ext>
                  </a:extLst>
                </p:cNvPr>
                <p:cNvSpPr/>
                <p:nvPr/>
              </p:nvSpPr>
              <p:spPr>
                <a:xfrm>
                  <a:off x="5936390" y="6006434"/>
                  <a:ext cx="108000" cy="108000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entury Gothic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620" name="Picture 619" descr="A picture containing light&#10;&#10;Description automatically generated">
                <a:extLst>
                  <a:ext uri="{FF2B5EF4-FFF2-40B4-BE49-F238E27FC236}">
                    <a16:creationId xmlns:a16="http://schemas.microsoft.com/office/drawing/2014/main" id="{BF9C8D69-DDD5-4973-BC20-5F5B72BFBB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21200" y="5531149"/>
                <a:ext cx="360000" cy="360000"/>
              </a:xfrm>
              <a:prstGeom prst="rect">
                <a:avLst/>
              </a:prstGeom>
            </p:spPr>
          </p:pic>
        </p:grpSp>
        <p:cxnSp>
          <p:nvCxnSpPr>
            <p:cNvPr id="623" name="Connector: Elbow 622">
              <a:extLst>
                <a:ext uri="{FF2B5EF4-FFF2-40B4-BE49-F238E27FC236}">
                  <a16:creationId xmlns:a16="http://schemas.microsoft.com/office/drawing/2014/main" id="{D9026B96-1A4E-459B-A526-05FAE8FCCF9A}"/>
                </a:ext>
              </a:extLst>
            </p:cNvPr>
            <p:cNvCxnSpPr>
              <a:cxnSpLocks/>
              <a:stCxn id="620" idx="1"/>
              <a:endCxn id="622" idx="6"/>
            </p:cNvCxnSpPr>
            <p:nvPr/>
          </p:nvCxnSpPr>
          <p:spPr>
            <a:xfrm rot="10800000" flipV="1">
              <a:off x="7190822" y="3115205"/>
              <a:ext cx="504562" cy="39445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or: Elbow 9">
              <a:extLst>
                <a:ext uri="{FF2B5EF4-FFF2-40B4-BE49-F238E27FC236}">
                  <a16:creationId xmlns:a16="http://schemas.microsoft.com/office/drawing/2014/main" id="{0AE6B58D-2506-44FF-A5AE-AB9E5DE03BE9}"/>
                </a:ext>
              </a:extLst>
            </p:cNvPr>
            <p:cNvCxnSpPr>
              <a:stCxn id="596" idx="29"/>
            </p:cNvCxnSpPr>
            <p:nvPr/>
          </p:nvCxnSpPr>
          <p:spPr>
            <a:xfrm>
              <a:off x="3591313" y="1488690"/>
              <a:ext cx="1220251" cy="1475631"/>
            </a:xfrm>
            <a:prstGeom prst="bentConnector2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Connector: Elbow 211">
              <a:extLst>
                <a:ext uri="{FF2B5EF4-FFF2-40B4-BE49-F238E27FC236}">
                  <a16:creationId xmlns:a16="http://schemas.microsoft.com/office/drawing/2014/main" id="{535FE4FB-5D23-418A-BBB7-D9E21DF9547B}"/>
                </a:ext>
              </a:extLst>
            </p:cNvPr>
            <p:cNvCxnSpPr>
              <a:cxnSpLocks/>
              <a:stCxn id="603" idx="3"/>
            </p:cNvCxnSpPr>
            <p:nvPr/>
          </p:nvCxnSpPr>
          <p:spPr>
            <a:xfrm>
              <a:off x="3672341" y="1754132"/>
              <a:ext cx="1006477" cy="1422399"/>
            </a:xfrm>
            <a:prstGeom prst="bentConnector2">
              <a:avLst/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or: Elbow 18">
              <a:extLst>
                <a:ext uri="{FF2B5EF4-FFF2-40B4-BE49-F238E27FC236}">
                  <a16:creationId xmlns:a16="http://schemas.microsoft.com/office/drawing/2014/main" id="{3152BF65-A12D-4CAE-9D7D-025F042D3E08}"/>
                </a:ext>
              </a:extLst>
            </p:cNvPr>
            <p:cNvCxnSpPr>
              <a:stCxn id="606" idx="3"/>
              <a:endCxn id="608" idx="4"/>
            </p:cNvCxnSpPr>
            <p:nvPr/>
          </p:nvCxnSpPr>
          <p:spPr>
            <a:xfrm>
              <a:off x="3680533" y="2012804"/>
              <a:ext cx="1155097" cy="1190422"/>
            </a:xfrm>
            <a:prstGeom prst="bentConnector4">
              <a:avLst>
                <a:gd name="adj1" fmla="val 36844"/>
                <a:gd name="adj2" fmla="val 108131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6CA5F1DD-7E06-4CF5-942E-C41285F44BDF}"/>
                </a:ext>
              </a:extLst>
            </p:cNvPr>
            <p:cNvSpPr/>
            <p:nvPr/>
          </p:nvSpPr>
          <p:spPr>
            <a:xfrm>
              <a:off x="5147299" y="2998875"/>
              <a:ext cx="113580" cy="112704"/>
            </a:xfrm>
            <a:prstGeom prst="ellipse">
              <a:avLst/>
            </a:prstGeom>
            <a:solidFill>
              <a:srgbClr val="02467C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BAB9184B-340C-4074-8DE6-C545213EC4E2}"/>
                </a:ext>
              </a:extLst>
            </p:cNvPr>
            <p:cNvSpPr/>
            <p:nvPr/>
          </p:nvSpPr>
          <p:spPr>
            <a:xfrm>
              <a:off x="5222535" y="2985144"/>
              <a:ext cx="113580" cy="112704"/>
            </a:xfrm>
            <a:prstGeom prst="ellipse">
              <a:avLst/>
            </a:prstGeom>
            <a:solidFill>
              <a:srgbClr val="F8992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5" name="Freeform 51">
              <a:extLst>
                <a:ext uri="{FF2B5EF4-FFF2-40B4-BE49-F238E27FC236}">
                  <a16:creationId xmlns:a16="http://schemas.microsoft.com/office/drawing/2014/main" id="{8AE78F69-3290-4F71-8DA5-8C52516B4B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9979" y="1062671"/>
              <a:ext cx="189301" cy="187839"/>
            </a:xfrm>
            <a:custGeom>
              <a:avLst/>
              <a:gdLst>
                <a:gd name="T0" fmla="*/ 1613 w 3750"/>
                <a:gd name="T1" fmla="*/ 2844 h 3108"/>
                <a:gd name="T2" fmla="*/ 2171 w 3750"/>
                <a:gd name="T3" fmla="*/ 2883 h 3108"/>
                <a:gd name="T4" fmla="*/ 2184 w 3750"/>
                <a:gd name="T5" fmla="*/ 2315 h 3108"/>
                <a:gd name="T6" fmla="*/ 2893 w 3750"/>
                <a:gd name="T7" fmla="*/ 2222 h 3108"/>
                <a:gd name="T8" fmla="*/ 2907 w 3750"/>
                <a:gd name="T9" fmla="*/ 2615 h 3108"/>
                <a:gd name="T10" fmla="*/ 3288 w 3750"/>
                <a:gd name="T11" fmla="*/ 2575 h 3108"/>
                <a:gd name="T12" fmla="*/ 2924 w 3750"/>
                <a:gd name="T13" fmla="*/ 2210 h 3108"/>
                <a:gd name="T14" fmla="*/ 460 w 3750"/>
                <a:gd name="T15" fmla="*/ 2575 h 3108"/>
                <a:gd name="T16" fmla="*/ 841 w 3750"/>
                <a:gd name="T17" fmla="*/ 2615 h 3108"/>
                <a:gd name="T18" fmla="*/ 855 w 3750"/>
                <a:gd name="T19" fmla="*/ 2222 h 3108"/>
                <a:gd name="T20" fmla="*/ 2893 w 3750"/>
                <a:gd name="T21" fmla="*/ 1677 h 3108"/>
                <a:gd name="T22" fmla="*/ 2907 w 3750"/>
                <a:gd name="T23" fmla="*/ 2069 h 3108"/>
                <a:gd name="T24" fmla="*/ 3288 w 3750"/>
                <a:gd name="T25" fmla="*/ 2029 h 3108"/>
                <a:gd name="T26" fmla="*/ 2924 w 3750"/>
                <a:gd name="T27" fmla="*/ 1665 h 3108"/>
                <a:gd name="T28" fmla="*/ 460 w 3750"/>
                <a:gd name="T29" fmla="*/ 2029 h 3108"/>
                <a:gd name="T30" fmla="*/ 841 w 3750"/>
                <a:gd name="T31" fmla="*/ 2069 h 3108"/>
                <a:gd name="T32" fmla="*/ 855 w 3750"/>
                <a:gd name="T33" fmla="*/ 1677 h 3108"/>
                <a:gd name="T34" fmla="*/ 2076 w 3750"/>
                <a:gd name="T35" fmla="*/ 1667 h 3108"/>
                <a:gd name="T36" fmla="*/ 2090 w 3750"/>
                <a:gd name="T37" fmla="*/ 2059 h 3108"/>
                <a:gd name="T38" fmla="*/ 2471 w 3750"/>
                <a:gd name="T39" fmla="*/ 2020 h 3108"/>
                <a:gd name="T40" fmla="*/ 2107 w 3750"/>
                <a:gd name="T41" fmla="*/ 1654 h 3108"/>
                <a:gd name="T42" fmla="*/ 1332 w 3750"/>
                <a:gd name="T43" fmla="*/ 2020 h 3108"/>
                <a:gd name="T44" fmla="*/ 1713 w 3750"/>
                <a:gd name="T45" fmla="*/ 2059 h 3108"/>
                <a:gd name="T46" fmla="*/ 1726 w 3750"/>
                <a:gd name="T47" fmla="*/ 1667 h 3108"/>
                <a:gd name="T48" fmla="*/ 2076 w 3750"/>
                <a:gd name="T49" fmla="*/ 1121 h 3108"/>
                <a:gd name="T50" fmla="*/ 2090 w 3750"/>
                <a:gd name="T51" fmla="*/ 1514 h 3108"/>
                <a:gd name="T52" fmla="*/ 2471 w 3750"/>
                <a:gd name="T53" fmla="*/ 1474 h 3108"/>
                <a:gd name="T54" fmla="*/ 2107 w 3750"/>
                <a:gd name="T55" fmla="*/ 1109 h 3108"/>
                <a:gd name="T56" fmla="*/ 1332 w 3750"/>
                <a:gd name="T57" fmla="*/ 1474 h 3108"/>
                <a:gd name="T58" fmla="*/ 1713 w 3750"/>
                <a:gd name="T59" fmla="*/ 1514 h 3108"/>
                <a:gd name="T60" fmla="*/ 1726 w 3750"/>
                <a:gd name="T61" fmla="*/ 1121 h 3108"/>
                <a:gd name="T62" fmla="*/ 2893 w 3750"/>
                <a:gd name="T63" fmla="*/ 1112 h 3108"/>
                <a:gd name="T64" fmla="*/ 2907 w 3750"/>
                <a:gd name="T65" fmla="*/ 1504 h 3108"/>
                <a:gd name="T66" fmla="*/ 3288 w 3750"/>
                <a:gd name="T67" fmla="*/ 1465 h 3108"/>
                <a:gd name="T68" fmla="*/ 2924 w 3750"/>
                <a:gd name="T69" fmla="*/ 1099 h 3108"/>
                <a:gd name="T70" fmla="*/ 460 w 3750"/>
                <a:gd name="T71" fmla="*/ 1465 h 3108"/>
                <a:gd name="T72" fmla="*/ 841 w 3750"/>
                <a:gd name="T73" fmla="*/ 1504 h 3108"/>
                <a:gd name="T74" fmla="*/ 855 w 3750"/>
                <a:gd name="T75" fmla="*/ 1112 h 3108"/>
                <a:gd name="T76" fmla="*/ 2076 w 3750"/>
                <a:gd name="T77" fmla="*/ 557 h 3108"/>
                <a:gd name="T78" fmla="*/ 2090 w 3750"/>
                <a:gd name="T79" fmla="*/ 949 h 3108"/>
                <a:gd name="T80" fmla="*/ 2471 w 3750"/>
                <a:gd name="T81" fmla="*/ 909 h 3108"/>
                <a:gd name="T82" fmla="*/ 2107 w 3750"/>
                <a:gd name="T83" fmla="*/ 544 h 3108"/>
                <a:gd name="T84" fmla="*/ 1332 w 3750"/>
                <a:gd name="T85" fmla="*/ 909 h 3108"/>
                <a:gd name="T86" fmla="*/ 1713 w 3750"/>
                <a:gd name="T87" fmla="*/ 949 h 3108"/>
                <a:gd name="T88" fmla="*/ 1726 w 3750"/>
                <a:gd name="T89" fmla="*/ 557 h 3108"/>
                <a:gd name="T90" fmla="*/ 2787 w 3750"/>
                <a:gd name="T91" fmla="*/ 2 h 3108"/>
                <a:gd name="T92" fmla="*/ 2820 w 3750"/>
                <a:gd name="T93" fmla="*/ 165 h 3108"/>
                <a:gd name="T94" fmla="*/ 2761 w 3750"/>
                <a:gd name="T95" fmla="*/ 204 h 3108"/>
                <a:gd name="T96" fmla="*/ 2754 w 3750"/>
                <a:gd name="T97" fmla="*/ 620 h 3108"/>
                <a:gd name="T98" fmla="*/ 2779 w 3750"/>
                <a:gd name="T99" fmla="*/ 645 h 3108"/>
                <a:gd name="T100" fmla="*/ 3621 w 3750"/>
                <a:gd name="T101" fmla="*/ 716 h 3108"/>
                <a:gd name="T102" fmla="*/ 3629 w 3750"/>
                <a:gd name="T103" fmla="*/ 2878 h 3108"/>
                <a:gd name="T104" fmla="*/ 3728 w 3750"/>
                <a:gd name="T105" fmla="*/ 2899 h 3108"/>
                <a:gd name="T106" fmla="*/ 3739 w 3750"/>
                <a:gd name="T107" fmla="*/ 3087 h 3108"/>
                <a:gd name="T108" fmla="*/ 22 w 3750"/>
                <a:gd name="T109" fmla="*/ 3098 h 3108"/>
                <a:gd name="T110" fmla="*/ 10 w 3750"/>
                <a:gd name="T111" fmla="*/ 2912 h 3108"/>
                <a:gd name="T112" fmla="*/ 112 w 3750"/>
                <a:gd name="T113" fmla="*/ 2887 h 3108"/>
                <a:gd name="T114" fmla="*/ 137 w 3750"/>
                <a:gd name="T115" fmla="*/ 693 h 3108"/>
                <a:gd name="T116" fmla="*/ 1037 w 3750"/>
                <a:gd name="T117" fmla="*/ 643 h 3108"/>
                <a:gd name="T118" fmla="*/ 1048 w 3750"/>
                <a:gd name="T119" fmla="*/ 610 h 3108"/>
                <a:gd name="T120" fmla="*/ 1046 w 3750"/>
                <a:gd name="T121" fmla="*/ 209 h 3108"/>
                <a:gd name="T122" fmla="*/ 1002 w 3750"/>
                <a:gd name="T123" fmla="*/ 193 h 3108"/>
                <a:gd name="T124" fmla="*/ 989 w 3750"/>
                <a:gd name="T125" fmla="*/ 21 h 3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50" h="3108">
                  <a:moveTo>
                    <a:pt x="1657" y="2302"/>
                  </a:moveTo>
                  <a:lnTo>
                    <a:pt x="1640" y="2305"/>
                  </a:lnTo>
                  <a:lnTo>
                    <a:pt x="1626" y="2315"/>
                  </a:lnTo>
                  <a:lnTo>
                    <a:pt x="1617" y="2328"/>
                  </a:lnTo>
                  <a:lnTo>
                    <a:pt x="1613" y="2345"/>
                  </a:lnTo>
                  <a:lnTo>
                    <a:pt x="1613" y="2844"/>
                  </a:lnTo>
                  <a:lnTo>
                    <a:pt x="1617" y="2860"/>
                  </a:lnTo>
                  <a:lnTo>
                    <a:pt x="1626" y="2874"/>
                  </a:lnTo>
                  <a:lnTo>
                    <a:pt x="1640" y="2883"/>
                  </a:lnTo>
                  <a:lnTo>
                    <a:pt x="1657" y="2887"/>
                  </a:lnTo>
                  <a:lnTo>
                    <a:pt x="2155" y="2887"/>
                  </a:lnTo>
                  <a:lnTo>
                    <a:pt x="2171" y="2883"/>
                  </a:lnTo>
                  <a:lnTo>
                    <a:pt x="2184" y="2874"/>
                  </a:lnTo>
                  <a:lnTo>
                    <a:pt x="2193" y="2860"/>
                  </a:lnTo>
                  <a:lnTo>
                    <a:pt x="2197" y="2844"/>
                  </a:lnTo>
                  <a:lnTo>
                    <a:pt x="2197" y="2345"/>
                  </a:lnTo>
                  <a:lnTo>
                    <a:pt x="2193" y="2328"/>
                  </a:lnTo>
                  <a:lnTo>
                    <a:pt x="2184" y="2315"/>
                  </a:lnTo>
                  <a:lnTo>
                    <a:pt x="2171" y="2305"/>
                  </a:lnTo>
                  <a:lnTo>
                    <a:pt x="2155" y="2302"/>
                  </a:lnTo>
                  <a:lnTo>
                    <a:pt x="1657" y="2302"/>
                  </a:lnTo>
                  <a:close/>
                  <a:moveTo>
                    <a:pt x="2924" y="2210"/>
                  </a:moveTo>
                  <a:lnTo>
                    <a:pt x="2907" y="2213"/>
                  </a:lnTo>
                  <a:lnTo>
                    <a:pt x="2893" y="2222"/>
                  </a:lnTo>
                  <a:lnTo>
                    <a:pt x="2884" y="2236"/>
                  </a:lnTo>
                  <a:lnTo>
                    <a:pt x="2880" y="2253"/>
                  </a:lnTo>
                  <a:lnTo>
                    <a:pt x="2880" y="2575"/>
                  </a:lnTo>
                  <a:lnTo>
                    <a:pt x="2884" y="2592"/>
                  </a:lnTo>
                  <a:lnTo>
                    <a:pt x="2893" y="2605"/>
                  </a:lnTo>
                  <a:lnTo>
                    <a:pt x="2907" y="2615"/>
                  </a:lnTo>
                  <a:lnTo>
                    <a:pt x="2924" y="2618"/>
                  </a:lnTo>
                  <a:lnTo>
                    <a:pt x="3245" y="2618"/>
                  </a:lnTo>
                  <a:lnTo>
                    <a:pt x="3262" y="2615"/>
                  </a:lnTo>
                  <a:lnTo>
                    <a:pt x="3276" y="2605"/>
                  </a:lnTo>
                  <a:lnTo>
                    <a:pt x="3285" y="2592"/>
                  </a:lnTo>
                  <a:lnTo>
                    <a:pt x="3288" y="2575"/>
                  </a:lnTo>
                  <a:lnTo>
                    <a:pt x="3288" y="2253"/>
                  </a:lnTo>
                  <a:lnTo>
                    <a:pt x="3285" y="2236"/>
                  </a:lnTo>
                  <a:lnTo>
                    <a:pt x="3276" y="2222"/>
                  </a:lnTo>
                  <a:lnTo>
                    <a:pt x="3262" y="2213"/>
                  </a:lnTo>
                  <a:lnTo>
                    <a:pt x="3245" y="2210"/>
                  </a:lnTo>
                  <a:lnTo>
                    <a:pt x="2924" y="2210"/>
                  </a:lnTo>
                  <a:close/>
                  <a:moveTo>
                    <a:pt x="502" y="2210"/>
                  </a:moveTo>
                  <a:lnTo>
                    <a:pt x="487" y="2213"/>
                  </a:lnTo>
                  <a:lnTo>
                    <a:pt x="473" y="2222"/>
                  </a:lnTo>
                  <a:lnTo>
                    <a:pt x="463" y="2236"/>
                  </a:lnTo>
                  <a:lnTo>
                    <a:pt x="460" y="2253"/>
                  </a:lnTo>
                  <a:lnTo>
                    <a:pt x="460" y="2575"/>
                  </a:lnTo>
                  <a:lnTo>
                    <a:pt x="463" y="2592"/>
                  </a:lnTo>
                  <a:lnTo>
                    <a:pt x="473" y="2605"/>
                  </a:lnTo>
                  <a:lnTo>
                    <a:pt x="487" y="2615"/>
                  </a:lnTo>
                  <a:lnTo>
                    <a:pt x="502" y="2618"/>
                  </a:lnTo>
                  <a:lnTo>
                    <a:pt x="824" y="2618"/>
                  </a:lnTo>
                  <a:lnTo>
                    <a:pt x="841" y="2615"/>
                  </a:lnTo>
                  <a:lnTo>
                    <a:pt x="855" y="2605"/>
                  </a:lnTo>
                  <a:lnTo>
                    <a:pt x="864" y="2592"/>
                  </a:lnTo>
                  <a:lnTo>
                    <a:pt x="867" y="2575"/>
                  </a:lnTo>
                  <a:lnTo>
                    <a:pt x="867" y="2253"/>
                  </a:lnTo>
                  <a:lnTo>
                    <a:pt x="864" y="2236"/>
                  </a:lnTo>
                  <a:lnTo>
                    <a:pt x="855" y="2222"/>
                  </a:lnTo>
                  <a:lnTo>
                    <a:pt x="841" y="2213"/>
                  </a:lnTo>
                  <a:lnTo>
                    <a:pt x="824" y="2210"/>
                  </a:lnTo>
                  <a:lnTo>
                    <a:pt x="502" y="2210"/>
                  </a:lnTo>
                  <a:close/>
                  <a:moveTo>
                    <a:pt x="2924" y="1665"/>
                  </a:moveTo>
                  <a:lnTo>
                    <a:pt x="2907" y="1668"/>
                  </a:lnTo>
                  <a:lnTo>
                    <a:pt x="2893" y="1677"/>
                  </a:lnTo>
                  <a:lnTo>
                    <a:pt x="2884" y="1691"/>
                  </a:lnTo>
                  <a:lnTo>
                    <a:pt x="2880" y="1707"/>
                  </a:lnTo>
                  <a:lnTo>
                    <a:pt x="2880" y="2029"/>
                  </a:lnTo>
                  <a:lnTo>
                    <a:pt x="2884" y="2046"/>
                  </a:lnTo>
                  <a:lnTo>
                    <a:pt x="2893" y="2060"/>
                  </a:lnTo>
                  <a:lnTo>
                    <a:pt x="2907" y="2069"/>
                  </a:lnTo>
                  <a:lnTo>
                    <a:pt x="2924" y="2072"/>
                  </a:lnTo>
                  <a:lnTo>
                    <a:pt x="3245" y="2072"/>
                  </a:lnTo>
                  <a:lnTo>
                    <a:pt x="3262" y="2069"/>
                  </a:lnTo>
                  <a:lnTo>
                    <a:pt x="3276" y="2060"/>
                  </a:lnTo>
                  <a:lnTo>
                    <a:pt x="3285" y="2046"/>
                  </a:lnTo>
                  <a:lnTo>
                    <a:pt x="3288" y="2029"/>
                  </a:lnTo>
                  <a:lnTo>
                    <a:pt x="3288" y="1707"/>
                  </a:lnTo>
                  <a:lnTo>
                    <a:pt x="3285" y="1691"/>
                  </a:lnTo>
                  <a:lnTo>
                    <a:pt x="3276" y="1677"/>
                  </a:lnTo>
                  <a:lnTo>
                    <a:pt x="3262" y="1668"/>
                  </a:lnTo>
                  <a:lnTo>
                    <a:pt x="3245" y="1665"/>
                  </a:lnTo>
                  <a:lnTo>
                    <a:pt x="2924" y="1665"/>
                  </a:lnTo>
                  <a:close/>
                  <a:moveTo>
                    <a:pt x="502" y="1665"/>
                  </a:moveTo>
                  <a:lnTo>
                    <a:pt x="487" y="1668"/>
                  </a:lnTo>
                  <a:lnTo>
                    <a:pt x="473" y="1677"/>
                  </a:lnTo>
                  <a:lnTo>
                    <a:pt x="463" y="1691"/>
                  </a:lnTo>
                  <a:lnTo>
                    <a:pt x="460" y="1707"/>
                  </a:lnTo>
                  <a:lnTo>
                    <a:pt x="460" y="2029"/>
                  </a:lnTo>
                  <a:lnTo>
                    <a:pt x="463" y="2046"/>
                  </a:lnTo>
                  <a:lnTo>
                    <a:pt x="473" y="2060"/>
                  </a:lnTo>
                  <a:lnTo>
                    <a:pt x="487" y="2069"/>
                  </a:lnTo>
                  <a:lnTo>
                    <a:pt x="502" y="2072"/>
                  </a:lnTo>
                  <a:lnTo>
                    <a:pt x="824" y="2072"/>
                  </a:lnTo>
                  <a:lnTo>
                    <a:pt x="841" y="2069"/>
                  </a:lnTo>
                  <a:lnTo>
                    <a:pt x="855" y="2060"/>
                  </a:lnTo>
                  <a:lnTo>
                    <a:pt x="864" y="2046"/>
                  </a:lnTo>
                  <a:lnTo>
                    <a:pt x="867" y="2029"/>
                  </a:lnTo>
                  <a:lnTo>
                    <a:pt x="867" y="1707"/>
                  </a:lnTo>
                  <a:lnTo>
                    <a:pt x="864" y="1691"/>
                  </a:lnTo>
                  <a:lnTo>
                    <a:pt x="855" y="1677"/>
                  </a:lnTo>
                  <a:lnTo>
                    <a:pt x="841" y="1668"/>
                  </a:lnTo>
                  <a:lnTo>
                    <a:pt x="824" y="1665"/>
                  </a:lnTo>
                  <a:lnTo>
                    <a:pt x="502" y="1665"/>
                  </a:lnTo>
                  <a:close/>
                  <a:moveTo>
                    <a:pt x="2107" y="1654"/>
                  </a:moveTo>
                  <a:lnTo>
                    <a:pt x="2090" y="1658"/>
                  </a:lnTo>
                  <a:lnTo>
                    <a:pt x="2076" y="1667"/>
                  </a:lnTo>
                  <a:lnTo>
                    <a:pt x="2067" y="1681"/>
                  </a:lnTo>
                  <a:lnTo>
                    <a:pt x="2063" y="1698"/>
                  </a:lnTo>
                  <a:lnTo>
                    <a:pt x="2063" y="2020"/>
                  </a:lnTo>
                  <a:lnTo>
                    <a:pt x="2067" y="2036"/>
                  </a:lnTo>
                  <a:lnTo>
                    <a:pt x="2076" y="2050"/>
                  </a:lnTo>
                  <a:lnTo>
                    <a:pt x="2090" y="2059"/>
                  </a:lnTo>
                  <a:lnTo>
                    <a:pt x="2107" y="2062"/>
                  </a:lnTo>
                  <a:lnTo>
                    <a:pt x="2428" y="2062"/>
                  </a:lnTo>
                  <a:lnTo>
                    <a:pt x="2445" y="2059"/>
                  </a:lnTo>
                  <a:lnTo>
                    <a:pt x="2458" y="2050"/>
                  </a:lnTo>
                  <a:lnTo>
                    <a:pt x="2468" y="2036"/>
                  </a:lnTo>
                  <a:lnTo>
                    <a:pt x="2471" y="2020"/>
                  </a:lnTo>
                  <a:lnTo>
                    <a:pt x="2471" y="1698"/>
                  </a:lnTo>
                  <a:lnTo>
                    <a:pt x="2468" y="1681"/>
                  </a:lnTo>
                  <a:lnTo>
                    <a:pt x="2458" y="1667"/>
                  </a:lnTo>
                  <a:lnTo>
                    <a:pt x="2445" y="1658"/>
                  </a:lnTo>
                  <a:lnTo>
                    <a:pt x="2428" y="1654"/>
                  </a:lnTo>
                  <a:lnTo>
                    <a:pt x="2107" y="1654"/>
                  </a:lnTo>
                  <a:close/>
                  <a:moveTo>
                    <a:pt x="1375" y="1654"/>
                  </a:moveTo>
                  <a:lnTo>
                    <a:pt x="1358" y="1658"/>
                  </a:lnTo>
                  <a:lnTo>
                    <a:pt x="1344" y="1667"/>
                  </a:lnTo>
                  <a:lnTo>
                    <a:pt x="1335" y="1681"/>
                  </a:lnTo>
                  <a:lnTo>
                    <a:pt x="1332" y="1698"/>
                  </a:lnTo>
                  <a:lnTo>
                    <a:pt x="1332" y="2020"/>
                  </a:lnTo>
                  <a:lnTo>
                    <a:pt x="1335" y="2036"/>
                  </a:lnTo>
                  <a:lnTo>
                    <a:pt x="1344" y="2050"/>
                  </a:lnTo>
                  <a:lnTo>
                    <a:pt x="1358" y="2059"/>
                  </a:lnTo>
                  <a:lnTo>
                    <a:pt x="1375" y="2062"/>
                  </a:lnTo>
                  <a:lnTo>
                    <a:pt x="1697" y="2062"/>
                  </a:lnTo>
                  <a:lnTo>
                    <a:pt x="1713" y="2059"/>
                  </a:lnTo>
                  <a:lnTo>
                    <a:pt x="1726" y="2050"/>
                  </a:lnTo>
                  <a:lnTo>
                    <a:pt x="1736" y="2036"/>
                  </a:lnTo>
                  <a:lnTo>
                    <a:pt x="1740" y="2020"/>
                  </a:lnTo>
                  <a:lnTo>
                    <a:pt x="1740" y="1698"/>
                  </a:lnTo>
                  <a:lnTo>
                    <a:pt x="1736" y="1681"/>
                  </a:lnTo>
                  <a:lnTo>
                    <a:pt x="1726" y="1667"/>
                  </a:lnTo>
                  <a:lnTo>
                    <a:pt x="1713" y="1658"/>
                  </a:lnTo>
                  <a:lnTo>
                    <a:pt x="1697" y="1654"/>
                  </a:lnTo>
                  <a:lnTo>
                    <a:pt x="1375" y="1654"/>
                  </a:lnTo>
                  <a:close/>
                  <a:moveTo>
                    <a:pt x="2107" y="1109"/>
                  </a:moveTo>
                  <a:lnTo>
                    <a:pt x="2090" y="1112"/>
                  </a:lnTo>
                  <a:lnTo>
                    <a:pt x="2076" y="1121"/>
                  </a:lnTo>
                  <a:lnTo>
                    <a:pt x="2067" y="1135"/>
                  </a:lnTo>
                  <a:lnTo>
                    <a:pt x="2063" y="1152"/>
                  </a:lnTo>
                  <a:lnTo>
                    <a:pt x="2063" y="1474"/>
                  </a:lnTo>
                  <a:lnTo>
                    <a:pt x="2067" y="1491"/>
                  </a:lnTo>
                  <a:lnTo>
                    <a:pt x="2076" y="1505"/>
                  </a:lnTo>
                  <a:lnTo>
                    <a:pt x="2090" y="1514"/>
                  </a:lnTo>
                  <a:lnTo>
                    <a:pt x="2107" y="1517"/>
                  </a:lnTo>
                  <a:lnTo>
                    <a:pt x="2428" y="1517"/>
                  </a:lnTo>
                  <a:lnTo>
                    <a:pt x="2445" y="1514"/>
                  </a:lnTo>
                  <a:lnTo>
                    <a:pt x="2458" y="1505"/>
                  </a:lnTo>
                  <a:lnTo>
                    <a:pt x="2468" y="1491"/>
                  </a:lnTo>
                  <a:lnTo>
                    <a:pt x="2471" y="1474"/>
                  </a:lnTo>
                  <a:lnTo>
                    <a:pt x="2471" y="1152"/>
                  </a:lnTo>
                  <a:lnTo>
                    <a:pt x="2468" y="1135"/>
                  </a:lnTo>
                  <a:lnTo>
                    <a:pt x="2458" y="1121"/>
                  </a:lnTo>
                  <a:lnTo>
                    <a:pt x="2445" y="1112"/>
                  </a:lnTo>
                  <a:lnTo>
                    <a:pt x="2428" y="1109"/>
                  </a:lnTo>
                  <a:lnTo>
                    <a:pt x="2107" y="1109"/>
                  </a:lnTo>
                  <a:close/>
                  <a:moveTo>
                    <a:pt x="1375" y="1109"/>
                  </a:moveTo>
                  <a:lnTo>
                    <a:pt x="1358" y="1112"/>
                  </a:lnTo>
                  <a:lnTo>
                    <a:pt x="1344" y="1121"/>
                  </a:lnTo>
                  <a:lnTo>
                    <a:pt x="1335" y="1135"/>
                  </a:lnTo>
                  <a:lnTo>
                    <a:pt x="1332" y="1152"/>
                  </a:lnTo>
                  <a:lnTo>
                    <a:pt x="1332" y="1474"/>
                  </a:lnTo>
                  <a:lnTo>
                    <a:pt x="1335" y="1491"/>
                  </a:lnTo>
                  <a:lnTo>
                    <a:pt x="1344" y="1505"/>
                  </a:lnTo>
                  <a:lnTo>
                    <a:pt x="1358" y="1514"/>
                  </a:lnTo>
                  <a:lnTo>
                    <a:pt x="1375" y="1517"/>
                  </a:lnTo>
                  <a:lnTo>
                    <a:pt x="1697" y="1517"/>
                  </a:lnTo>
                  <a:lnTo>
                    <a:pt x="1713" y="1514"/>
                  </a:lnTo>
                  <a:lnTo>
                    <a:pt x="1726" y="1505"/>
                  </a:lnTo>
                  <a:lnTo>
                    <a:pt x="1736" y="1491"/>
                  </a:lnTo>
                  <a:lnTo>
                    <a:pt x="1740" y="1474"/>
                  </a:lnTo>
                  <a:lnTo>
                    <a:pt x="1740" y="1152"/>
                  </a:lnTo>
                  <a:lnTo>
                    <a:pt x="1736" y="1135"/>
                  </a:lnTo>
                  <a:lnTo>
                    <a:pt x="1726" y="1121"/>
                  </a:lnTo>
                  <a:lnTo>
                    <a:pt x="1713" y="1112"/>
                  </a:lnTo>
                  <a:lnTo>
                    <a:pt x="1697" y="1109"/>
                  </a:lnTo>
                  <a:lnTo>
                    <a:pt x="1375" y="1109"/>
                  </a:lnTo>
                  <a:close/>
                  <a:moveTo>
                    <a:pt x="2924" y="1099"/>
                  </a:moveTo>
                  <a:lnTo>
                    <a:pt x="2907" y="1103"/>
                  </a:lnTo>
                  <a:lnTo>
                    <a:pt x="2893" y="1112"/>
                  </a:lnTo>
                  <a:lnTo>
                    <a:pt x="2884" y="1126"/>
                  </a:lnTo>
                  <a:lnTo>
                    <a:pt x="2880" y="1142"/>
                  </a:lnTo>
                  <a:lnTo>
                    <a:pt x="2880" y="1465"/>
                  </a:lnTo>
                  <a:lnTo>
                    <a:pt x="2884" y="1481"/>
                  </a:lnTo>
                  <a:lnTo>
                    <a:pt x="2893" y="1495"/>
                  </a:lnTo>
                  <a:lnTo>
                    <a:pt x="2907" y="1504"/>
                  </a:lnTo>
                  <a:lnTo>
                    <a:pt x="2924" y="1507"/>
                  </a:lnTo>
                  <a:lnTo>
                    <a:pt x="3245" y="1507"/>
                  </a:lnTo>
                  <a:lnTo>
                    <a:pt x="3262" y="1504"/>
                  </a:lnTo>
                  <a:lnTo>
                    <a:pt x="3276" y="1495"/>
                  </a:lnTo>
                  <a:lnTo>
                    <a:pt x="3285" y="1481"/>
                  </a:lnTo>
                  <a:lnTo>
                    <a:pt x="3288" y="1465"/>
                  </a:lnTo>
                  <a:lnTo>
                    <a:pt x="3288" y="1142"/>
                  </a:lnTo>
                  <a:lnTo>
                    <a:pt x="3285" y="1126"/>
                  </a:lnTo>
                  <a:lnTo>
                    <a:pt x="3276" y="1112"/>
                  </a:lnTo>
                  <a:lnTo>
                    <a:pt x="3262" y="1103"/>
                  </a:lnTo>
                  <a:lnTo>
                    <a:pt x="3245" y="1099"/>
                  </a:lnTo>
                  <a:lnTo>
                    <a:pt x="2924" y="1099"/>
                  </a:lnTo>
                  <a:close/>
                  <a:moveTo>
                    <a:pt x="502" y="1099"/>
                  </a:moveTo>
                  <a:lnTo>
                    <a:pt x="487" y="1103"/>
                  </a:lnTo>
                  <a:lnTo>
                    <a:pt x="473" y="1112"/>
                  </a:lnTo>
                  <a:lnTo>
                    <a:pt x="463" y="1126"/>
                  </a:lnTo>
                  <a:lnTo>
                    <a:pt x="460" y="1142"/>
                  </a:lnTo>
                  <a:lnTo>
                    <a:pt x="460" y="1465"/>
                  </a:lnTo>
                  <a:lnTo>
                    <a:pt x="463" y="1481"/>
                  </a:lnTo>
                  <a:lnTo>
                    <a:pt x="473" y="1495"/>
                  </a:lnTo>
                  <a:lnTo>
                    <a:pt x="487" y="1504"/>
                  </a:lnTo>
                  <a:lnTo>
                    <a:pt x="502" y="1507"/>
                  </a:lnTo>
                  <a:lnTo>
                    <a:pt x="824" y="1507"/>
                  </a:lnTo>
                  <a:lnTo>
                    <a:pt x="841" y="1504"/>
                  </a:lnTo>
                  <a:lnTo>
                    <a:pt x="855" y="1495"/>
                  </a:lnTo>
                  <a:lnTo>
                    <a:pt x="864" y="1481"/>
                  </a:lnTo>
                  <a:lnTo>
                    <a:pt x="867" y="1465"/>
                  </a:lnTo>
                  <a:lnTo>
                    <a:pt x="867" y="1142"/>
                  </a:lnTo>
                  <a:lnTo>
                    <a:pt x="864" y="1126"/>
                  </a:lnTo>
                  <a:lnTo>
                    <a:pt x="855" y="1112"/>
                  </a:lnTo>
                  <a:lnTo>
                    <a:pt x="841" y="1103"/>
                  </a:lnTo>
                  <a:lnTo>
                    <a:pt x="824" y="1099"/>
                  </a:lnTo>
                  <a:lnTo>
                    <a:pt x="502" y="1099"/>
                  </a:lnTo>
                  <a:close/>
                  <a:moveTo>
                    <a:pt x="2107" y="544"/>
                  </a:moveTo>
                  <a:lnTo>
                    <a:pt x="2090" y="548"/>
                  </a:lnTo>
                  <a:lnTo>
                    <a:pt x="2076" y="557"/>
                  </a:lnTo>
                  <a:lnTo>
                    <a:pt x="2067" y="571"/>
                  </a:lnTo>
                  <a:lnTo>
                    <a:pt x="2063" y="587"/>
                  </a:lnTo>
                  <a:lnTo>
                    <a:pt x="2063" y="909"/>
                  </a:lnTo>
                  <a:lnTo>
                    <a:pt x="2067" y="926"/>
                  </a:lnTo>
                  <a:lnTo>
                    <a:pt x="2076" y="940"/>
                  </a:lnTo>
                  <a:lnTo>
                    <a:pt x="2090" y="949"/>
                  </a:lnTo>
                  <a:lnTo>
                    <a:pt x="2107" y="952"/>
                  </a:lnTo>
                  <a:lnTo>
                    <a:pt x="2428" y="952"/>
                  </a:lnTo>
                  <a:lnTo>
                    <a:pt x="2445" y="949"/>
                  </a:lnTo>
                  <a:lnTo>
                    <a:pt x="2458" y="940"/>
                  </a:lnTo>
                  <a:lnTo>
                    <a:pt x="2468" y="926"/>
                  </a:lnTo>
                  <a:lnTo>
                    <a:pt x="2471" y="909"/>
                  </a:lnTo>
                  <a:lnTo>
                    <a:pt x="2471" y="587"/>
                  </a:lnTo>
                  <a:lnTo>
                    <a:pt x="2468" y="571"/>
                  </a:lnTo>
                  <a:lnTo>
                    <a:pt x="2458" y="557"/>
                  </a:lnTo>
                  <a:lnTo>
                    <a:pt x="2445" y="548"/>
                  </a:lnTo>
                  <a:lnTo>
                    <a:pt x="2428" y="544"/>
                  </a:lnTo>
                  <a:lnTo>
                    <a:pt x="2107" y="544"/>
                  </a:lnTo>
                  <a:close/>
                  <a:moveTo>
                    <a:pt x="1375" y="544"/>
                  </a:moveTo>
                  <a:lnTo>
                    <a:pt x="1358" y="548"/>
                  </a:lnTo>
                  <a:lnTo>
                    <a:pt x="1344" y="557"/>
                  </a:lnTo>
                  <a:lnTo>
                    <a:pt x="1335" y="571"/>
                  </a:lnTo>
                  <a:lnTo>
                    <a:pt x="1332" y="587"/>
                  </a:lnTo>
                  <a:lnTo>
                    <a:pt x="1332" y="909"/>
                  </a:lnTo>
                  <a:lnTo>
                    <a:pt x="1335" y="926"/>
                  </a:lnTo>
                  <a:lnTo>
                    <a:pt x="1344" y="940"/>
                  </a:lnTo>
                  <a:lnTo>
                    <a:pt x="1358" y="949"/>
                  </a:lnTo>
                  <a:lnTo>
                    <a:pt x="1375" y="952"/>
                  </a:lnTo>
                  <a:lnTo>
                    <a:pt x="1697" y="952"/>
                  </a:lnTo>
                  <a:lnTo>
                    <a:pt x="1713" y="949"/>
                  </a:lnTo>
                  <a:lnTo>
                    <a:pt x="1726" y="940"/>
                  </a:lnTo>
                  <a:lnTo>
                    <a:pt x="1736" y="926"/>
                  </a:lnTo>
                  <a:lnTo>
                    <a:pt x="1740" y="909"/>
                  </a:lnTo>
                  <a:lnTo>
                    <a:pt x="1740" y="587"/>
                  </a:lnTo>
                  <a:lnTo>
                    <a:pt x="1736" y="571"/>
                  </a:lnTo>
                  <a:lnTo>
                    <a:pt x="1726" y="557"/>
                  </a:lnTo>
                  <a:lnTo>
                    <a:pt x="1713" y="548"/>
                  </a:lnTo>
                  <a:lnTo>
                    <a:pt x="1697" y="544"/>
                  </a:lnTo>
                  <a:lnTo>
                    <a:pt x="1375" y="544"/>
                  </a:lnTo>
                  <a:close/>
                  <a:moveTo>
                    <a:pt x="1032" y="0"/>
                  </a:moveTo>
                  <a:lnTo>
                    <a:pt x="2770" y="0"/>
                  </a:lnTo>
                  <a:lnTo>
                    <a:pt x="2787" y="2"/>
                  </a:lnTo>
                  <a:lnTo>
                    <a:pt x="2801" y="10"/>
                  </a:lnTo>
                  <a:lnTo>
                    <a:pt x="2813" y="21"/>
                  </a:lnTo>
                  <a:lnTo>
                    <a:pt x="2820" y="36"/>
                  </a:lnTo>
                  <a:lnTo>
                    <a:pt x="2823" y="53"/>
                  </a:lnTo>
                  <a:lnTo>
                    <a:pt x="2823" y="149"/>
                  </a:lnTo>
                  <a:lnTo>
                    <a:pt x="2820" y="165"/>
                  </a:lnTo>
                  <a:lnTo>
                    <a:pt x="2813" y="180"/>
                  </a:lnTo>
                  <a:lnTo>
                    <a:pt x="2801" y="193"/>
                  </a:lnTo>
                  <a:lnTo>
                    <a:pt x="2787" y="200"/>
                  </a:lnTo>
                  <a:lnTo>
                    <a:pt x="2770" y="203"/>
                  </a:lnTo>
                  <a:lnTo>
                    <a:pt x="2764" y="203"/>
                  </a:lnTo>
                  <a:lnTo>
                    <a:pt x="2761" y="204"/>
                  </a:lnTo>
                  <a:lnTo>
                    <a:pt x="2757" y="204"/>
                  </a:lnTo>
                  <a:lnTo>
                    <a:pt x="2756" y="206"/>
                  </a:lnTo>
                  <a:lnTo>
                    <a:pt x="2755" y="208"/>
                  </a:lnTo>
                  <a:lnTo>
                    <a:pt x="2754" y="210"/>
                  </a:lnTo>
                  <a:lnTo>
                    <a:pt x="2754" y="211"/>
                  </a:lnTo>
                  <a:lnTo>
                    <a:pt x="2754" y="620"/>
                  </a:lnTo>
                  <a:lnTo>
                    <a:pt x="2754" y="621"/>
                  </a:lnTo>
                  <a:lnTo>
                    <a:pt x="2754" y="626"/>
                  </a:lnTo>
                  <a:lnTo>
                    <a:pt x="2756" y="632"/>
                  </a:lnTo>
                  <a:lnTo>
                    <a:pt x="2761" y="638"/>
                  </a:lnTo>
                  <a:lnTo>
                    <a:pt x="2768" y="643"/>
                  </a:lnTo>
                  <a:lnTo>
                    <a:pt x="2779" y="645"/>
                  </a:lnTo>
                  <a:lnTo>
                    <a:pt x="3528" y="645"/>
                  </a:lnTo>
                  <a:lnTo>
                    <a:pt x="3553" y="648"/>
                  </a:lnTo>
                  <a:lnTo>
                    <a:pt x="3575" y="659"/>
                  </a:lnTo>
                  <a:lnTo>
                    <a:pt x="3596" y="673"/>
                  </a:lnTo>
                  <a:lnTo>
                    <a:pt x="3611" y="693"/>
                  </a:lnTo>
                  <a:lnTo>
                    <a:pt x="3621" y="716"/>
                  </a:lnTo>
                  <a:lnTo>
                    <a:pt x="3624" y="742"/>
                  </a:lnTo>
                  <a:lnTo>
                    <a:pt x="3624" y="2859"/>
                  </a:lnTo>
                  <a:lnTo>
                    <a:pt x="3624" y="2860"/>
                  </a:lnTo>
                  <a:lnTo>
                    <a:pt x="3624" y="2865"/>
                  </a:lnTo>
                  <a:lnTo>
                    <a:pt x="3626" y="2871"/>
                  </a:lnTo>
                  <a:lnTo>
                    <a:pt x="3629" y="2878"/>
                  </a:lnTo>
                  <a:lnTo>
                    <a:pt x="3634" y="2883"/>
                  </a:lnTo>
                  <a:lnTo>
                    <a:pt x="3640" y="2888"/>
                  </a:lnTo>
                  <a:lnTo>
                    <a:pt x="3649" y="2889"/>
                  </a:lnTo>
                  <a:lnTo>
                    <a:pt x="3696" y="2889"/>
                  </a:lnTo>
                  <a:lnTo>
                    <a:pt x="3713" y="2892"/>
                  </a:lnTo>
                  <a:lnTo>
                    <a:pt x="3728" y="2899"/>
                  </a:lnTo>
                  <a:lnTo>
                    <a:pt x="3739" y="2912"/>
                  </a:lnTo>
                  <a:lnTo>
                    <a:pt x="3747" y="2926"/>
                  </a:lnTo>
                  <a:lnTo>
                    <a:pt x="3750" y="2943"/>
                  </a:lnTo>
                  <a:lnTo>
                    <a:pt x="3750" y="3055"/>
                  </a:lnTo>
                  <a:lnTo>
                    <a:pt x="3747" y="3072"/>
                  </a:lnTo>
                  <a:lnTo>
                    <a:pt x="3739" y="3087"/>
                  </a:lnTo>
                  <a:lnTo>
                    <a:pt x="3728" y="3098"/>
                  </a:lnTo>
                  <a:lnTo>
                    <a:pt x="3713" y="3106"/>
                  </a:lnTo>
                  <a:lnTo>
                    <a:pt x="3696" y="3108"/>
                  </a:lnTo>
                  <a:lnTo>
                    <a:pt x="54" y="3108"/>
                  </a:lnTo>
                  <a:lnTo>
                    <a:pt x="36" y="3106"/>
                  </a:lnTo>
                  <a:lnTo>
                    <a:pt x="22" y="3098"/>
                  </a:lnTo>
                  <a:lnTo>
                    <a:pt x="10" y="3087"/>
                  </a:lnTo>
                  <a:lnTo>
                    <a:pt x="2" y="3072"/>
                  </a:lnTo>
                  <a:lnTo>
                    <a:pt x="0" y="3055"/>
                  </a:lnTo>
                  <a:lnTo>
                    <a:pt x="0" y="2943"/>
                  </a:lnTo>
                  <a:lnTo>
                    <a:pt x="2" y="2926"/>
                  </a:lnTo>
                  <a:lnTo>
                    <a:pt x="10" y="2912"/>
                  </a:lnTo>
                  <a:lnTo>
                    <a:pt x="22" y="2899"/>
                  </a:lnTo>
                  <a:lnTo>
                    <a:pt x="36" y="2892"/>
                  </a:lnTo>
                  <a:lnTo>
                    <a:pt x="54" y="2889"/>
                  </a:lnTo>
                  <a:lnTo>
                    <a:pt x="91" y="2889"/>
                  </a:lnTo>
                  <a:lnTo>
                    <a:pt x="103" y="2889"/>
                  </a:lnTo>
                  <a:lnTo>
                    <a:pt x="112" y="2887"/>
                  </a:lnTo>
                  <a:lnTo>
                    <a:pt x="118" y="2882"/>
                  </a:lnTo>
                  <a:lnTo>
                    <a:pt x="122" y="2876"/>
                  </a:lnTo>
                  <a:lnTo>
                    <a:pt x="124" y="2866"/>
                  </a:lnTo>
                  <a:lnTo>
                    <a:pt x="124" y="742"/>
                  </a:lnTo>
                  <a:lnTo>
                    <a:pt x="128" y="716"/>
                  </a:lnTo>
                  <a:lnTo>
                    <a:pt x="137" y="693"/>
                  </a:lnTo>
                  <a:lnTo>
                    <a:pt x="152" y="673"/>
                  </a:lnTo>
                  <a:lnTo>
                    <a:pt x="172" y="659"/>
                  </a:lnTo>
                  <a:lnTo>
                    <a:pt x="195" y="648"/>
                  </a:lnTo>
                  <a:lnTo>
                    <a:pt x="220" y="645"/>
                  </a:lnTo>
                  <a:lnTo>
                    <a:pt x="1028" y="645"/>
                  </a:lnTo>
                  <a:lnTo>
                    <a:pt x="1037" y="643"/>
                  </a:lnTo>
                  <a:lnTo>
                    <a:pt x="1043" y="638"/>
                  </a:lnTo>
                  <a:lnTo>
                    <a:pt x="1046" y="631"/>
                  </a:lnTo>
                  <a:lnTo>
                    <a:pt x="1047" y="623"/>
                  </a:lnTo>
                  <a:lnTo>
                    <a:pt x="1048" y="616"/>
                  </a:lnTo>
                  <a:lnTo>
                    <a:pt x="1048" y="612"/>
                  </a:lnTo>
                  <a:lnTo>
                    <a:pt x="1048" y="610"/>
                  </a:lnTo>
                  <a:lnTo>
                    <a:pt x="1048" y="218"/>
                  </a:lnTo>
                  <a:lnTo>
                    <a:pt x="1048" y="217"/>
                  </a:lnTo>
                  <a:lnTo>
                    <a:pt x="1048" y="216"/>
                  </a:lnTo>
                  <a:lnTo>
                    <a:pt x="1048" y="213"/>
                  </a:lnTo>
                  <a:lnTo>
                    <a:pt x="1047" y="211"/>
                  </a:lnTo>
                  <a:lnTo>
                    <a:pt x="1046" y="209"/>
                  </a:lnTo>
                  <a:lnTo>
                    <a:pt x="1044" y="206"/>
                  </a:lnTo>
                  <a:lnTo>
                    <a:pt x="1041" y="204"/>
                  </a:lnTo>
                  <a:lnTo>
                    <a:pt x="1037" y="203"/>
                  </a:lnTo>
                  <a:lnTo>
                    <a:pt x="1032" y="203"/>
                  </a:lnTo>
                  <a:lnTo>
                    <a:pt x="1015" y="200"/>
                  </a:lnTo>
                  <a:lnTo>
                    <a:pt x="1002" y="193"/>
                  </a:lnTo>
                  <a:lnTo>
                    <a:pt x="989" y="180"/>
                  </a:lnTo>
                  <a:lnTo>
                    <a:pt x="982" y="165"/>
                  </a:lnTo>
                  <a:lnTo>
                    <a:pt x="979" y="149"/>
                  </a:lnTo>
                  <a:lnTo>
                    <a:pt x="979" y="53"/>
                  </a:lnTo>
                  <a:lnTo>
                    <a:pt x="982" y="36"/>
                  </a:lnTo>
                  <a:lnTo>
                    <a:pt x="989" y="21"/>
                  </a:lnTo>
                  <a:lnTo>
                    <a:pt x="1002" y="10"/>
                  </a:lnTo>
                  <a:lnTo>
                    <a:pt x="1015" y="2"/>
                  </a:lnTo>
                  <a:lnTo>
                    <a:pt x="1032" y="0"/>
                  </a:lnTo>
                  <a:close/>
                </a:path>
              </a:pathLst>
            </a:custGeom>
            <a:solidFill>
              <a:srgbClr val="024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                 </a:t>
              </a:r>
            </a:p>
          </p:txBody>
        </p:sp>
        <p:cxnSp>
          <p:nvCxnSpPr>
            <p:cNvPr id="226" name="Connector: Elbow 225">
              <a:extLst>
                <a:ext uri="{FF2B5EF4-FFF2-40B4-BE49-F238E27FC236}">
                  <a16:creationId xmlns:a16="http://schemas.microsoft.com/office/drawing/2014/main" id="{9724B390-F36E-4D9F-8CE5-9789C25C979E}"/>
                </a:ext>
              </a:extLst>
            </p:cNvPr>
            <p:cNvCxnSpPr>
              <a:cxnSpLocks/>
              <a:stCxn id="225" idx="8"/>
              <a:endCxn id="223" idx="0"/>
            </p:cNvCxnSpPr>
            <p:nvPr/>
          </p:nvCxnSpPr>
          <p:spPr>
            <a:xfrm flipH="1">
              <a:off x="5204089" y="1220714"/>
              <a:ext cx="128344" cy="1778161"/>
            </a:xfrm>
            <a:prstGeom prst="bentConnector4">
              <a:avLst>
                <a:gd name="adj1" fmla="val 100190"/>
                <a:gd name="adj2" fmla="val 50838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7" name="Picture 226">
              <a:extLst>
                <a:ext uri="{FF2B5EF4-FFF2-40B4-BE49-F238E27FC236}">
                  <a16:creationId xmlns:a16="http://schemas.microsoft.com/office/drawing/2014/main" id="{426A8544-8953-41B9-8209-4F348D22EA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clrChange>
                <a:clrFrom>
                  <a:srgbClr val="E7E7E8"/>
                </a:clrFrom>
                <a:clrTo>
                  <a:srgbClr val="E7E7E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34964" y="1269346"/>
              <a:ext cx="218968" cy="225407"/>
            </a:xfrm>
            <a:prstGeom prst="rect">
              <a:avLst/>
            </a:prstGeom>
          </p:spPr>
        </p:pic>
        <p:cxnSp>
          <p:nvCxnSpPr>
            <p:cNvPr id="49" name="Connector: Elbow 48">
              <a:extLst>
                <a:ext uri="{FF2B5EF4-FFF2-40B4-BE49-F238E27FC236}">
                  <a16:creationId xmlns:a16="http://schemas.microsoft.com/office/drawing/2014/main" id="{D07CE846-D804-46FE-8640-CCA336B38E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542696" y="2200592"/>
              <a:ext cx="1577843" cy="24270"/>
            </a:xfrm>
            <a:prstGeom prst="bentConnector3">
              <a:avLst>
                <a:gd name="adj1" fmla="val 101613"/>
              </a:avLst>
            </a:prstGeom>
            <a:ln>
              <a:solidFill>
                <a:srgbClr val="F498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287F4F01-930B-4A5F-A55C-9EF53D4C5821}"/>
                </a:ext>
              </a:extLst>
            </p:cNvPr>
            <p:cNvSpPr/>
            <p:nvPr/>
          </p:nvSpPr>
          <p:spPr>
            <a:xfrm>
              <a:off x="5536900" y="992653"/>
              <a:ext cx="2388109" cy="3164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33" b="1" i="0" u="none" strike="noStrike" kern="1200" cap="none" spc="0" normalizeH="0" baseline="0" noProof="0" dirty="0">
                  <a:ln>
                    <a:noFill/>
                  </a:ln>
                  <a:solidFill>
                    <a:srgbClr val="02467C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Lagos, Nigeria </a:t>
              </a:r>
              <a:r>
                <a:rPr kumimoji="0" lang="en-ZA" sz="1133" b="0" i="0" u="none" strike="noStrike" kern="1200" cap="none" spc="0" normalizeH="0" baseline="0" noProof="0" dirty="0">
                  <a:ln>
                    <a:noFill/>
                  </a:ln>
                  <a:solidFill>
                    <a:srgbClr val="02467C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Office</a:t>
              </a:r>
            </a:p>
          </p:txBody>
        </p: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50838039-E4C4-43D7-BABF-BB1D2E4BF90F}"/>
                </a:ext>
              </a:extLst>
            </p:cNvPr>
            <p:cNvSpPr/>
            <p:nvPr/>
          </p:nvSpPr>
          <p:spPr>
            <a:xfrm>
              <a:off x="5531251" y="1248043"/>
              <a:ext cx="2423364" cy="2477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5720" rIns="91440" bIns="4572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GPSN – C&amp;I</a:t>
              </a:r>
              <a:r>
                <a:rPr kumimoji="0" lang="en-ZA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4980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| 15 plants - 66 MW</a:t>
              </a:r>
            </a:p>
          </p:txBody>
        </p:sp>
      </p:grpSp>
      <p:cxnSp>
        <p:nvCxnSpPr>
          <p:cNvPr id="217" name="Connector: Elbow 216">
            <a:extLst>
              <a:ext uri="{FF2B5EF4-FFF2-40B4-BE49-F238E27FC236}">
                <a16:creationId xmlns:a16="http://schemas.microsoft.com/office/drawing/2014/main" id="{865B57D8-4E14-4FE2-9B71-4413CE4CE6D0}"/>
              </a:ext>
            </a:extLst>
          </p:cNvPr>
          <p:cNvCxnSpPr>
            <a:cxnSpLocks/>
            <a:endCxn id="481" idx="6"/>
          </p:cNvCxnSpPr>
          <p:nvPr/>
        </p:nvCxnSpPr>
        <p:spPr>
          <a:xfrm rot="10800000" flipV="1">
            <a:off x="6815434" y="4012342"/>
            <a:ext cx="666704" cy="70702"/>
          </a:xfrm>
          <a:prstGeom prst="bentConnector3">
            <a:avLst>
              <a:gd name="adj1" fmla="val 27759"/>
            </a:avLst>
          </a:prstGeom>
          <a:ln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585">
            <a:extLst>
              <a:ext uri="{FF2B5EF4-FFF2-40B4-BE49-F238E27FC236}">
                <a16:creationId xmlns:a16="http://schemas.microsoft.com/office/drawing/2014/main" id="{644F193F-C7D4-4855-B237-E4BE678E580E}"/>
              </a:ext>
            </a:extLst>
          </p:cNvPr>
          <p:cNvCxnSpPr>
            <a:cxnSpLocks/>
            <a:stCxn id="466" idx="6"/>
          </p:cNvCxnSpPr>
          <p:nvPr/>
        </p:nvCxnSpPr>
        <p:spPr>
          <a:xfrm>
            <a:off x="6342209" y="5385629"/>
            <a:ext cx="439573" cy="171252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Freeform 51">
            <a:extLst>
              <a:ext uri="{FF2B5EF4-FFF2-40B4-BE49-F238E27FC236}">
                <a16:creationId xmlns:a16="http://schemas.microsoft.com/office/drawing/2014/main" id="{3CEF1236-9B4A-4D67-B0DE-C6CFEECDE385}"/>
              </a:ext>
            </a:extLst>
          </p:cNvPr>
          <p:cNvSpPr>
            <a:spLocks noEditPoints="1"/>
          </p:cNvSpPr>
          <p:nvPr/>
        </p:nvSpPr>
        <p:spPr bwMode="auto">
          <a:xfrm>
            <a:off x="6848728" y="5146737"/>
            <a:ext cx="189301" cy="187841"/>
          </a:xfrm>
          <a:custGeom>
            <a:avLst/>
            <a:gdLst>
              <a:gd name="T0" fmla="*/ 1613 w 3750"/>
              <a:gd name="T1" fmla="*/ 2844 h 3108"/>
              <a:gd name="T2" fmla="*/ 2171 w 3750"/>
              <a:gd name="T3" fmla="*/ 2883 h 3108"/>
              <a:gd name="T4" fmla="*/ 2184 w 3750"/>
              <a:gd name="T5" fmla="*/ 2315 h 3108"/>
              <a:gd name="T6" fmla="*/ 2893 w 3750"/>
              <a:gd name="T7" fmla="*/ 2222 h 3108"/>
              <a:gd name="T8" fmla="*/ 2907 w 3750"/>
              <a:gd name="T9" fmla="*/ 2615 h 3108"/>
              <a:gd name="T10" fmla="*/ 3288 w 3750"/>
              <a:gd name="T11" fmla="*/ 2575 h 3108"/>
              <a:gd name="T12" fmla="*/ 2924 w 3750"/>
              <a:gd name="T13" fmla="*/ 2210 h 3108"/>
              <a:gd name="T14" fmla="*/ 460 w 3750"/>
              <a:gd name="T15" fmla="*/ 2575 h 3108"/>
              <a:gd name="T16" fmla="*/ 841 w 3750"/>
              <a:gd name="T17" fmla="*/ 2615 h 3108"/>
              <a:gd name="T18" fmla="*/ 855 w 3750"/>
              <a:gd name="T19" fmla="*/ 2222 h 3108"/>
              <a:gd name="T20" fmla="*/ 2893 w 3750"/>
              <a:gd name="T21" fmla="*/ 1677 h 3108"/>
              <a:gd name="T22" fmla="*/ 2907 w 3750"/>
              <a:gd name="T23" fmla="*/ 2069 h 3108"/>
              <a:gd name="T24" fmla="*/ 3288 w 3750"/>
              <a:gd name="T25" fmla="*/ 2029 h 3108"/>
              <a:gd name="T26" fmla="*/ 2924 w 3750"/>
              <a:gd name="T27" fmla="*/ 1665 h 3108"/>
              <a:gd name="T28" fmla="*/ 460 w 3750"/>
              <a:gd name="T29" fmla="*/ 2029 h 3108"/>
              <a:gd name="T30" fmla="*/ 841 w 3750"/>
              <a:gd name="T31" fmla="*/ 2069 h 3108"/>
              <a:gd name="T32" fmla="*/ 855 w 3750"/>
              <a:gd name="T33" fmla="*/ 1677 h 3108"/>
              <a:gd name="T34" fmla="*/ 2076 w 3750"/>
              <a:gd name="T35" fmla="*/ 1667 h 3108"/>
              <a:gd name="T36" fmla="*/ 2090 w 3750"/>
              <a:gd name="T37" fmla="*/ 2059 h 3108"/>
              <a:gd name="T38" fmla="*/ 2471 w 3750"/>
              <a:gd name="T39" fmla="*/ 2020 h 3108"/>
              <a:gd name="T40" fmla="*/ 2107 w 3750"/>
              <a:gd name="T41" fmla="*/ 1654 h 3108"/>
              <a:gd name="T42" fmla="*/ 1332 w 3750"/>
              <a:gd name="T43" fmla="*/ 2020 h 3108"/>
              <a:gd name="T44" fmla="*/ 1713 w 3750"/>
              <a:gd name="T45" fmla="*/ 2059 h 3108"/>
              <a:gd name="T46" fmla="*/ 1726 w 3750"/>
              <a:gd name="T47" fmla="*/ 1667 h 3108"/>
              <a:gd name="T48" fmla="*/ 2076 w 3750"/>
              <a:gd name="T49" fmla="*/ 1121 h 3108"/>
              <a:gd name="T50" fmla="*/ 2090 w 3750"/>
              <a:gd name="T51" fmla="*/ 1514 h 3108"/>
              <a:gd name="T52" fmla="*/ 2471 w 3750"/>
              <a:gd name="T53" fmla="*/ 1474 h 3108"/>
              <a:gd name="T54" fmla="*/ 2107 w 3750"/>
              <a:gd name="T55" fmla="*/ 1109 h 3108"/>
              <a:gd name="T56" fmla="*/ 1332 w 3750"/>
              <a:gd name="T57" fmla="*/ 1474 h 3108"/>
              <a:gd name="T58" fmla="*/ 1713 w 3750"/>
              <a:gd name="T59" fmla="*/ 1514 h 3108"/>
              <a:gd name="T60" fmla="*/ 1726 w 3750"/>
              <a:gd name="T61" fmla="*/ 1121 h 3108"/>
              <a:gd name="T62" fmla="*/ 2893 w 3750"/>
              <a:gd name="T63" fmla="*/ 1112 h 3108"/>
              <a:gd name="T64" fmla="*/ 2907 w 3750"/>
              <a:gd name="T65" fmla="*/ 1504 h 3108"/>
              <a:gd name="T66" fmla="*/ 3288 w 3750"/>
              <a:gd name="T67" fmla="*/ 1465 h 3108"/>
              <a:gd name="T68" fmla="*/ 2924 w 3750"/>
              <a:gd name="T69" fmla="*/ 1099 h 3108"/>
              <a:gd name="T70" fmla="*/ 460 w 3750"/>
              <a:gd name="T71" fmla="*/ 1465 h 3108"/>
              <a:gd name="T72" fmla="*/ 841 w 3750"/>
              <a:gd name="T73" fmla="*/ 1504 h 3108"/>
              <a:gd name="T74" fmla="*/ 855 w 3750"/>
              <a:gd name="T75" fmla="*/ 1112 h 3108"/>
              <a:gd name="T76" fmla="*/ 2076 w 3750"/>
              <a:gd name="T77" fmla="*/ 557 h 3108"/>
              <a:gd name="T78" fmla="*/ 2090 w 3750"/>
              <a:gd name="T79" fmla="*/ 949 h 3108"/>
              <a:gd name="T80" fmla="*/ 2471 w 3750"/>
              <a:gd name="T81" fmla="*/ 909 h 3108"/>
              <a:gd name="T82" fmla="*/ 2107 w 3750"/>
              <a:gd name="T83" fmla="*/ 544 h 3108"/>
              <a:gd name="T84" fmla="*/ 1332 w 3750"/>
              <a:gd name="T85" fmla="*/ 909 h 3108"/>
              <a:gd name="T86" fmla="*/ 1713 w 3750"/>
              <a:gd name="T87" fmla="*/ 949 h 3108"/>
              <a:gd name="T88" fmla="*/ 1726 w 3750"/>
              <a:gd name="T89" fmla="*/ 557 h 3108"/>
              <a:gd name="T90" fmla="*/ 2787 w 3750"/>
              <a:gd name="T91" fmla="*/ 2 h 3108"/>
              <a:gd name="T92" fmla="*/ 2820 w 3750"/>
              <a:gd name="T93" fmla="*/ 165 h 3108"/>
              <a:gd name="T94" fmla="*/ 2761 w 3750"/>
              <a:gd name="T95" fmla="*/ 204 h 3108"/>
              <a:gd name="T96" fmla="*/ 2754 w 3750"/>
              <a:gd name="T97" fmla="*/ 620 h 3108"/>
              <a:gd name="T98" fmla="*/ 2779 w 3750"/>
              <a:gd name="T99" fmla="*/ 645 h 3108"/>
              <a:gd name="T100" fmla="*/ 3621 w 3750"/>
              <a:gd name="T101" fmla="*/ 716 h 3108"/>
              <a:gd name="T102" fmla="*/ 3629 w 3750"/>
              <a:gd name="T103" fmla="*/ 2878 h 3108"/>
              <a:gd name="T104" fmla="*/ 3728 w 3750"/>
              <a:gd name="T105" fmla="*/ 2899 h 3108"/>
              <a:gd name="T106" fmla="*/ 3739 w 3750"/>
              <a:gd name="T107" fmla="*/ 3087 h 3108"/>
              <a:gd name="T108" fmla="*/ 22 w 3750"/>
              <a:gd name="T109" fmla="*/ 3098 h 3108"/>
              <a:gd name="T110" fmla="*/ 10 w 3750"/>
              <a:gd name="T111" fmla="*/ 2912 h 3108"/>
              <a:gd name="T112" fmla="*/ 112 w 3750"/>
              <a:gd name="T113" fmla="*/ 2887 h 3108"/>
              <a:gd name="T114" fmla="*/ 137 w 3750"/>
              <a:gd name="T115" fmla="*/ 693 h 3108"/>
              <a:gd name="T116" fmla="*/ 1037 w 3750"/>
              <a:gd name="T117" fmla="*/ 643 h 3108"/>
              <a:gd name="T118" fmla="*/ 1048 w 3750"/>
              <a:gd name="T119" fmla="*/ 610 h 3108"/>
              <a:gd name="T120" fmla="*/ 1046 w 3750"/>
              <a:gd name="T121" fmla="*/ 209 h 3108"/>
              <a:gd name="T122" fmla="*/ 1002 w 3750"/>
              <a:gd name="T123" fmla="*/ 193 h 3108"/>
              <a:gd name="T124" fmla="*/ 989 w 3750"/>
              <a:gd name="T125" fmla="*/ 21 h 3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50" h="3108">
                <a:moveTo>
                  <a:pt x="1657" y="2302"/>
                </a:moveTo>
                <a:lnTo>
                  <a:pt x="1640" y="2305"/>
                </a:lnTo>
                <a:lnTo>
                  <a:pt x="1626" y="2315"/>
                </a:lnTo>
                <a:lnTo>
                  <a:pt x="1617" y="2328"/>
                </a:lnTo>
                <a:lnTo>
                  <a:pt x="1613" y="2345"/>
                </a:lnTo>
                <a:lnTo>
                  <a:pt x="1613" y="2844"/>
                </a:lnTo>
                <a:lnTo>
                  <a:pt x="1617" y="2860"/>
                </a:lnTo>
                <a:lnTo>
                  <a:pt x="1626" y="2874"/>
                </a:lnTo>
                <a:lnTo>
                  <a:pt x="1640" y="2883"/>
                </a:lnTo>
                <a:lnTo>
                  <a:pt x="1657" y="2887"/>
                </a:lnTo>
                <a:lnTo>
                  <a:pt x="2155" y="2887"/>
                </a:lnTo>
                <a:lnTo>
                  <a:pt x="2171" y="2883"/>
                </a:lnTo>
                <a:lnTo>
                  <a:pt x="2184" y="2874"/>
                </a:lnTo>
                <a:lnTo>
                  <a:pt x="2193" y="2860"/>
                </a:lnTo>
                <a:lnTo>
                  <a:pt x="2197" y="2844"/>
                </a:lnTo>
                <a:lnTo>
                  <a:pt x="2197" y="2345"/>
                </a:lnTo>
                <a:lnTo>
                  <a:pt x="2193" y="2328"/>
                </a:lnTo>
                <a:lnTo>
                  <a:pt x="2184" y="2315"/>
                </a:lnTo>
                <a:lnTo>
                  <a:pt x="2171" y="2305"/>
                </a:lnTo>
                <a:lnTo>
                  <a:pt x="2155" y="2302"/>
                </a:lnTo>
                <a:lnTo>
                  <a:pt x="1657" y="2302"/>
                </a:lnTo>
                <a:close/>
                <a:moveTo>
                  <a:pt x="2924" y="2210"/>
                </a:moveTo>
                <a:lnTo>
                  <a:pt x="2907" y="2213"/>
                </a:lnTo>
                <a:lnTo>
                  <a:pt x="2893" y="2222"/>
                </a:lnTo>
                <a:lnTo>
                  <a:pt x="2884" y="2236"/>
                </a:lnTo>
                <a:lnTo>
                  <a:pt x="2880" y="2253"/>
                </a:lnTo>
                <a:lnTo>
                  <a:pt x="2880" y="2575"/>
                </a:lnTo>
                <a:lnTo>
                  <a:pt x="2884" y="2592"/>
                </a:lnTo>
                <a:lnTo>
                  <a:pt x="2893" y="2605"/>
                </a:lnTo>
                <a:lnTo>
                  <a:pt x="2907" y="2615"/>
                </a:lnTo>
                <a:lnTo>
                  <a:pt x="2924" y="2618"/>
                </a:lnTo>
                <a:lnTo>
                  <a:pt x="3245" y="2618"/>
                </a:lnTo>
                <a:lnTo>
                  <a:pt x="3262" y="2615"/>
                </a:lnTo>
                <a:lnTo>
                  <a:pt x="3276" y="2605"/>
                </a:lnTo>
                <a:lnTo>
                  <a:pt x="3285" y="2592"/>
                </a:lnTo>
                <a:lnTo>
                  <a:pt x="3288" y="2575"/>
                </a:lnTo>
                <a:lnTo>
                  <a:pt x="3288" y="2253"/>
                </a:lnTo>
                <a:lnTo>
                  <a:pt x="3285" y="2236"/>
                </a:lnTo>
                <a:lnTo>
                  <a:pt x="3276" y="2222"/>
                </a:lnTo>
                <a:lnTo>
                  <a:pt x="3262" y="2213"/>
                </a:lnTo>
                <a:lnTo>
                  <a:pt x="3245" y="2210"/>
                </a:lnTo>
                <a:lnTo>
                  <a:pt x="2924" y="2210"/>
                </a:lnTo>
                <a:close/>
                <a:moveTo>
                  <a:pt x="502" y="2210"/>
                </a:moveTo>
                <a:lnTo>
                  <a:pt x="487" y="2213"/>
                </a:lnTo>
                <a:lnTo>
                  <a:pt x="473" y="2222"/>
                </a:lnTo>
                <a:lnTo>
                  <a:pt x="463" y="2236"/>
                </a:lnTo>
                <a:lnTo>
                  <a:pt x="460" y="2253"/>
                </a:lnTo>
                <a:lnTo>
                  <a:pt x="460" y="2575"/>
                </a:lnTo>
                <a:lnTo>
                  <a:pt x="463" y="2592"/>
                </a:lnTo>
                <a:lnTo>
                  <a:pt x="473" y="2605"/>
                </a:lnTo>
                <a:lnTo>
                  <a:pt x="487" y="2615"/>
                </a:lnTo>
                <a:lnTo>
                  <a:pt x="502" y="2618"/>
                </a:lnTo>
                <a:lnTo>
                  <a:pt x="824" y="2618"/>
                </a:lnTo>
                <a:lnTo>
                  <a:pt x="841" y="2615"/>
                </a:lnTo>
                <a:lnTo>
                  <a:pt x="855" y="2605"/>
                </a:lnTo>
                <a:lnTo>
                  <a:pt x="864" y="2592"/>
                </a:lnTo>
                <a:lnTo>
                  <a:pt x="867" y="2575"/>
                </a:lnTo>
                <a:lnTo>
                  <a:pt x="867" y="2253"/>
                </a:lnTo>
                <a:lnTo>
                  <a:pt x="864" y="2236"/>
                </a:lnTo>
                <a:lnTo>
                  <a:pt x="855" y="2222"/>
                </a:lnTo>
                <a:lnTo>
                  <a:pt x="841" y="2213"/>
                </a:lnTo>
                <a:lnTo>
                  <a:pt x="824" y="2210"/>
                </a:lnTo>
                <a:lnTo>
                  <a:pt x="502" y="2210"/>
                </a:lnTo>
                <a:close/>
                <a:moveTo>
                  <a:pt x="2924" y="1665"/>
                </a:moveTo>
                <a:lnTo>
                  <a:pt x="2907" y="1668"/>
                </a:lnTo>
                <a:lnTo>
                  <a:pt x="2893" y="1677"/>
                </a:lnTo>
                <a:lnTo>
                  <a:pt x="2884" y="1691"/>
                </a:lnTo>
                <a:lnTo>
                  <a:pt x="2880" y="1707"/>
                </a:lnTo>
                <a:lnTo>
                  <a:pt x="2880" y="2029"/>
                </a:lnTo>
                <a:lnTo>
                  <a:pt x="2884" y="2046"/>
                </a:lnTo>
                <a:lnTo>
                  <a:pt x="2893" y="2060"/>
                </a:lnTo>
                <a:lnTo>
                  <a:pt x="2907" y="2069"/>
                </a:lnTo>
                <a:lnTo>
                  <a:pt x="2924" y="2072"/>
                </a:lnTo>
                <a:lnTo>
                  <a:pt x="3245" y="2072"/>
                </a:lnTo>
                <a:lnTo>
                  <a:pt x="3262" y="2069"/>
                </a:lnTo>
                <a:lnTo>
                  <a:pt x="3276" y="2060"/>
                </a:lnTo>
                <a:lnTo>
                  <a:pt x="3285" y="2046"/>
                </a:lnTo>
                <a:lnTo>
                  <a:pt x="3288" y="2029"/>
                </a:lnTo>
                <a:lnTo>
                  <a:pt x="3288" y="1707"/>
                </a:lnTo>
                <a:lnTo>
                  <a:pt x="3285" y="1691"/>
                </a:lnTo>
                <a:lnTo>
                  <a:pt x="3276" y="1677"/>
                </a:lnTo>
                <a:lnTo>
                  <a:pt x="3262" y="1668"/>
                </a:lnTo>
                <a:lnTo>
                  <a:pt x="3245" y="1665"/>
                </a:lnTo>
                <a:lnTo>
                  <a:pt x="2924" y="1665"/>
                </a:lnTo>
                <a:close/>
                <a:moveTo>
                  <a:pt x="502" y="1665"/>
                </a:moveTo>
                <a:lnTo>
                  <a:pt x="487" y="1668"/>
                </a:lnTo>
                <a:lnTo>
                  <a:pt x="473" y="1677"/>
                </a:lnTo>
                <a:lnTo>
                  <a:pt x="463" y="1691"/>
                </a:lnTo>
                <a:lnTo>
                  <a:pt x="460" y="1707"/>
                </a:lnTo>
                <a:lnTo>
                  <a:pt x="460" y="2029"/>
                </a:lnTo>
                <a:lnTo>
                  <a:pt x="463" y="2046"/>
                </a:lnTo>
                <a:lnTo>
                  <a:pt x="473" y="2060"/>
                </a:lnTo>
                <a:lnTo>
                  <a:pt x="487" y="2069"/>
                </a:lnTo>
                <a:lnTo>
                  <a:pt x="502" y="2072"/>
                </a:lnTo>
                <a:lnTo>
                  <a:pt x="824" y="2072"/>
                </a:lnTo>
                <a:lnTo>
                  <a:pt x="841" y="2069"/>
                </a:lnTo>
                <a:lnTo>
                  <a:pt x="855" y="2060"/>
                </a:lnTo>
                <a:lnTo>
                  <a:pt x="864" y="2046"/>
                </a:lnTo>
                <a:lnTo>
                  <a:pt x="867" y="2029"/>
                </a:lnTo>
                <a:lnTo>
                  <a:pt x="867" y="1707"/>
                </a:lnTo>
                <a:lnTo>
                  <a:pt x="864" y="1691"/>
                </a:lnTo>
                <a:lnTo>
                  <a:pt x="855" y="1677"/>
                </a:lnTo>
                <a:lnTo>
                  <a:pt x="841" y="1668"/>
                </a:lnTo>
                <a:lnTo>
                  <a:pt x="824" y="1665"/>
                </a:lnTo>
                <a:lnTo>
                  <a:pt x="502" y="1665"/>
                </a:lnTo>
                <a:close/>
                <a:moveTo>
                  <a:pt x="2107" y="1654"/>
                </a:moveTo>
                <a:lnTo>
                  <a:pt x="2090" y="1658"/>
                </a:lnTo>
                <a:lnTo>
                  <a:pt x="2076" y="1667"/>
                </a:lnTo>
                <a:lnTo>
                  <a:pt x="2067" y="1681"/>
                </a:lnTo>
                <a:lnTo>
                  <a:pt x="2063" y="1698"/>
                </a:lnTo>
                <a:lnTo>
                  <a:pt x="2063" y="2020"/>
                </a:lnTo>
                <a:lnTo>
                  <a:pt x="2067" y="2036"/>
                </a:lnTo>
                <a:lnTo>
                  <a:pt x="2076" y="2050"/>
                </a:lnTo>
                <a:lnTo>
                  <a:pt x="2090" y="2059"/>
                </a:lnTo>
                <a:lnTo>
                  <a:pt x="2107" y="2062"/>
                </a:lnTo>
                <a:lnTo>
                  <a:pt x="2428" y="2062"/>
                </a:lnTo>
                <a:lnTo>
                  <a:pt x="2445" y="2059"/>
                </a:lnTo>
                <a:lnTo>
                  <a:pt x="2458" y="2050"/>
                </a:lnTo>
                <a:lnTo>
                  <a:pt x="2468" y="2036"/>
                </a:lnTo>
                <a:lnTo>
                  <a:pt x="2471" y="2020"/>
                </a:lnTo>
                <a:lnTo>
                  <a:pt x="2471" y="1698"/>
                </a:lnTo>
                <a:lnTo>
                  <a:pt x="2468" y="1681"/>
                </a:lnTo>
                <a:lnTo>
                  <a:pt x="2458" y="1667"/>
                </a:lnTo>
                <a:lnTo>
                  <a:pt x="2445" y="1658"/>
                </a:lnTo>
                <a:lnTo>
                  <a:pt x="2428" y="1654"/>
                </a:lnTo>
                <a:lnTo>
                  <a:pt x="2107" y="1654"/>
                </a:lnTo>
                <a:close/>
                <a:moveTo>
                  <a:pt x="1375" y="1654"/>
                </a:moveTo>
                <a:lnTo>
                  <a:pt x="1358" y="1658"/>
                </a:lnTo>
                <a:lnTo>
                  <a:pt x="1344" y="1667"/>
                </a:lnTo>
                <a:lnTo>
                  <a:pt x="1335" y="1681"/>
                </a:lnTo>
                <a:lnTo>
                  <a:pt x="1332" y="1698"/>
                </a:lnTo>
                <a:lnTo>
                  <a:pt x="1332" y="2020"/>
                </a:lnTo>
                <a:lnTo>
                  <a:pt x="1335" y="2036"/>
                </a:lnTo>
                <a:lnTo>
                  <a:pt x="1344" y="2050"/>
                </a:lnTo>
                <a:lnTo>
                  <a:pt x="1358" y="2059"/>
                </a:lnTo>
                <a:lnTo>
                  <a:pt x="1375" y="2062"/>
                </a:lnTo>
                <a:lnTo>
                  <a:pt x="1697" y="2062"/>
                </a:lnTo>
                <a:lnTo>
                  <a:pt x="1713" y="2059"/>
                </a:lnTo>
                <a:lnTo>
                  <a:pt x="1726" y="2050"/>
                </a:lnTo>
                <a:lnTo>
                  <a:pt x="1736" y="2036"/>
                </a:lnTo>
                <a:lnTo>
                  <a:pt x="1740" y="2020"/>
                </a:lnTo>
                <a:lnTo>
                  <a:pt x="1740" y="1698"/>
                </a:lnTo>
                <a:lnTo>
                  <a:pt x="1736" y="1681"/>
                </a:lnTo>
                <a:lnTo>
                  <a:pt x="1726" y="1667"/>
                </a:lnTo>
                <a:lnTo>
                  <a:pt x="1713" y="1658"/>
                </a:lnTo>
                <a:lnTo>
                  <a:pt x="1697" y="1654"/>
                </a:lnTo>
                <a:lnTo>
                  <a:pt x="1375" y="1654"/>
                </a:lnTo>
                <a:close/>
                <a:moveTo>
                  <a:pt x="2107" y="1109"/>
                </a:moveTo>
                <a:lnTo>
                  <a:pt x="2090" y="1112"/>
                </a:lnTo>
                <a:lnTo>
                  <a:pt x="2076" y="1121"/>
                </a:lnTo>
                <a:lnTo>
                  <a:pt x="2067" y="1135"/>
                </a:lnTo>
                <a:lnTo>
                  <a:pt x="2063" y="1152"/>
                </a:lnTo>
                <a:lnTo>
                  <a:pt x="2063" y="1474"/>
                </a:lnTo>
                <a:lnTo>
                  <a:pt x="2067" y="1491"/>
                </a:lnTo>
                <a:lnTo>
                  <a:pt x="2076" y="1505"/>
                </a:lnTo>
                <a:lnTo>
                  <a:pt x="2090" y="1514"/>
                </a:lnTo>
                <a:lnTo>
                  <a:pt x="2107" y="1517"/>
                </a:lnTo>
                <a:lnTo>
                  <a:pt x="2428" y="1517"/>
                </a:lnTo>
                <a:lnTo>
                  <a:pt x="2445" y="1514"/>
                </a:lnTo>
                <a:lnTo>
                  <a:pt x="2458" y="1505"/>
                </a:lnTo>
                <a:lnTo>
                  <a:pt x="2468" y="1491"/>
                </a:lnTo>
                <a:lnTo>
                  <a:pt x="2471" y="1474"/>
                </a:lnTo>
                <a:lnTo>
                  <a:pt x="2471" y="1152"/>
                </a:lnTo>
                <a:lnTo>
                  <a:pt x="2468" y="1135"/>
                </a:lnTo>
                <a:lnTo>
                  <a:pt x="2458" y="1121"/>
                </a:lnTo>
                <a:lnTo>
                  <a:pt x="2445" y="1112"/>
                </a:lnTo>
                <a:lnTo>
                  <a:pt x="2428" y="1109"/>
                </a:lnTo>
                <a:lnTo>
                  <a:pt x="2107" y="1109"/>
                </a:lnTo>
                <a:close/>
                <a:moveTo>
                  <a:pt x="1375" y="1109"/>
                </a:moveTo>
                <a:lnTo>
                  <a:pt x="1358" y="1112"/>
                </a:lnTo>
                <a:lnTo>
                  <a:pt x="1344" y="1121"/>
                </a:lnTo>
                <a:lnTo>
                  <a:pt x="1335" y="1135"/>
                </a:lnTo>
                <a:lnTo>
                  <a:pt x="1332" y="1152"/>
                </a:lnTo>
                <a:lnTo>
                  <a:pt x="1332" y="1474"/>
                </a:lnTo>
                <a:lnTo>
                  <a:pt x="1335" y="1491"/>
                </a:lnTo>
                <a:lnTo>
                  <a:pt x="1344" y="1505"/>
                </a:lnTo>
                <a:lnTo>
                  <a:pt x="1358" y="1514"/>
                </a:lnTo>
                <a:lnTo>
                  <a:pt x="1375" y="1517"/>
                </a:lnTo>
                <a:lnTo>
                  <a:pt x="1697" y="1517"/>
                </a:lnTo>
                <a:lnTo>
                  <a:pt x="1713" y="1514"/>
                </a:lnTo>
                <a:lnTo>
                  <a:pt x="1726" y="1505"/>
                </a:lnTo>
                <a:lnTo>
                  <a:pt x="1736" y="1491"/>
                </a:lnTo>
                <a:lnTo>
                  <a:pt x="1740" y="1474"/>
                </a:lnTo>
                <a:lnTo>
                  <a:pt x="1740" y="1152"/>
                </a:lnTo>
                <a:lnTo>
                  <a:pt x="1736" y="1135"/>
                </a:lnTo>
                <a:lnTo>
                  <a:pt x="1726" y="1121"/>
                </a:lnTo>
                <a:lnTo>
                  <a:pt x="1713" y="1112"/>
                </a:lnTo>
                <a:lnTo>
                  <a:pt x="1697" y="1109"/>
                </a:lnTo>
                <a:lnTo>
                  <a:pt x="1375" y="1109"/>
                </a:lnTo>
                <a:close/>
                <a:moveTo>
                  <a:pt x="2924" y="1099"/>
                </a:moveTo>
                <a:lnTo>
                  <a:pt x="2907" y="1103"/>
                </a:lnTo>
                <a:lnTo>
                  <a:pt x="2893" y="1112"/>
                </a:lnTo>
                <a:lnTo>
                  <a:pt x="2884" y="1126"/>
                </a:lnTo>
                <a:lnTo>
                  <a:pt x="2880" y="1142"/>
                </a:lnTo>
                <a:lnTo>
                  <a:pt x="2880" y="1465"/>
                </a:lnTo>
                <a:lnTo>
                  <a:pt x="2884" y="1481"/>
                </a:lnTo>
                <a:lnTo>
                  <a:pt x="2893" y="1495"/>
                </a:lnTo>
                <a:lnTo>
                  <a:pt x="2907" y="1504"/>
                </a:lnTo>
                <a:lnTo>
                  <a:pt x="2924" y="1507"/>
                </a:lnTo>
                <a:lnTo>
                  <a:pt x="3245" y="1507"/>
                </a:lnTo>
                <a:lnTo>
                  <a:pt x="3262" y="1504"/>
                </a:lnTo>
                <a:lnTo>
                  <a:pt x="3276" y="1495"/>
                </a:lnTo>
                <a:lnTo>
                  <a:pt x="3285" y="1481"/>
                </a:lnTo>
                <a:lnTo>
                  <a:pt x="3288" y="1465"/>
                </a:lnTo>
                <a:lnTo>
                  <a:pt x="3288" y="1142"/>
                </a:lnTo>
                <a:lnTo>
                  <a:pt x="3285" y="1126"/>
                </a:lnTo>
                <a:lnTo>
                  <a:pt x="3276" y="1112"/>
                </a:lnTo>
                <a:lnTo>
                  <a:pt x="3262" y="1103"/>
                </a:lnTo>
                <a:lnTo>
                  <a:pt x="3245" y="1099"/>
                </a:lnTo>
                <a:lnTo>
                  <a:pt x="2924" y="1099"/>
                </a:lnTo>
                <a:close/>
                <a:moveTo>
                  <a:pt x="502" y="1099"/>
                </a:moveTo>
                <a:lnTo>
                  <a:pt x="487" y="1103"/>
                </a:lnTo>
                <a:lnTo>
                  <a:pt x="473" y="1112"/>
                </a:lnTo>
                <a:lnTo>
                  <a:pt x="463" y="1126"/>
                </a:lnTo>
                <a:lnTo>
                  <a:pt x="460" y="1142"/>
                </a:lnTo>
                <a:lnTo>
                  <a:pt x="460" y="1465"/>
                </a:lnTo>
                <a:lnTo>
                  <a:pt x="463" y="1481"/>
                </a:lnTo>
                <a:lnTo>
                  <a:pt x="473" y="1495"/>
                </a:lnTo>
                <a:lnTo>
                  <a:pt x="487" y="1504"/>
                </a:lnTo>
                <a:lnTo>
                  <a:pt x="502" y="1507"/>
                </a:lnTo>
                <a:lnTo>
                  <a:pt x="824" y="1507"/>
                </a:lnTo>
                <a:lnTo>
                  <a:pt x="841" y="1504"/>
                </a:lnTo>
                <a:lnTo>
                  <a:pt x="855" y="1495"/>
                </a:lnTo>
                <a:lnTo>
                  <a:pt x="864" y="1481"/>
                </a:lnTo>
                <a:lnTo>
                  <a:pt x="867" y="1465"/>
                </a:lnTo>
                <a:lnTo>
                  <a:pt x="867" y="1142"/>
                </a:lnTo>
                <a:lnTo>
                  <a:pt x="864" y="1126"/>
                </a:lnTo>
                <a:lnTo>
                  <a:pt x="855" y="1112"/>
                </a:lnTo>
                <a:lnTo>
                  <a:pt x="841" y="1103"/>
                </a:lnTo>
                <a:lnTo>
                  <a:pt x="824" y="1099"/>
                </a:lnTo>
                <a:lnTo>
                  <a:pt x="502" y="1099"/>
                </a:lnTo>
                <a:close/>
                <a:moveTo>
                  <a:pt x="2107" y="544"/>
                </a:moveTo>
                <a:lnTo>
                  <a:pt x="2090" y="548"/>
                </a:lnTo>
                <a:lnTo>
                  <a:pt x="2076" y="557"/>
                </a:lnTo>
                <a:lnTo>
                  <a:pt x="2067" y="571"/>
                </a:lnTo>
                <a:lnTo>
                  <a:pt x="2063" y="587"/>
                </a:lnTo>
                <a:lnTo>
                  <a:pt x="2063" y="909"/>
                </a:lnTo>
                <a:lnTo>
                  <a:pt x="2067" y="926"/>
                </a:lnTo>
                <a:lnTo>
                  <a:pt x="2076" y="940"/>
                </a:lnTo>
                <a:lnTo>
                  <a:pt x="2090" y="949"/>
                </a:lnTo>
                <a:lnTo>
                  <a:pt x="2107" y="952"/>
                </a:lnTo>
                <a:lnTo>
                  <a:pt x="2428" y="952"/>
                </a:lnTo>
                <a:lnTo>
                  <a:pt x="2445" y="949"/>
                </a:lnTo>
                <a:lnTo>
                  <a:pt x="2458" y="940"/>
                </a:lnTo>
                <a:lnTo>
                  <a:pt x="2468" y="926"/>
                </a:lnTo>
                <a:lnTo>
                  <a:pt x="2471" y="909"/>
                </a:lnTo>
                <a:lnTo>
                  <a:pt x="2471" y="587"/>
                </a:lnTo>
                <a:lnTo>
                  <a:pt x="2468" y="571"/>
                </a:lnTo>
                <a:lnTo>
                  <a:pt x="2458" y="557"/>
                </a:lnTo>
                <a:lnTo>
                  <a:pt x="2445" y="548"/>
                </a:lnTo>
                <a:lnTo>
                  <a:pt x="2428" y="544"/>
                </a:lnTo>
                <a:lnTo>
                  <a:pt x="2107" y="544"/>
                </a:lnTo>
                <a:close/>
                <a:moveTo>
                  <a:pt x="1375" y="544"/>
                </a:moveTo>
                <a:lnTo>
                  <a:pt x="1358" y="548"/>
                </a:lnTo>
                <a:lnTo>
                  <a:pt x="1344" y="557"/>
                </a:lnTo>
                <a:lnTo>
                  <a:pt x="1335" y="571"/>
                </a:lnTo>
                <a:lnTo>
                  <a:pt x="1332" y="587"/>
                </a:lnTo>
                <a:lnTo>
                  <a:pt x="1332" y="909"/>
                </a:lnTo>
                <a:lnTo>
                  <a:pt x="1335" y="926"/>
                </a:lnTo>
                <a:lnTo>
                  <a:pt x="1344" y="940"/>
                </a:lnTo>
                <a:lnTo>
                  <a:pt x="1358" y="949"/>
                </a:lnTo>
                <a:lnTo>
                  <a:pt x="1375" y="952"/>
                </a:lnTo>
                <a:lnTo>
                  <a:pt x="1697" y="952"/>
                </a:lnTo>
                <a:lnTo>
                  <a:pt x="1713" y="949"/>
                </a:lnTo>
                <a:lnTo>
                  <a:pt x="1726" y="940"/>
                </a:lnTo>
                <a:lnTo>
                  <a:pt x="1736" y="926"/>
                </a:lnTo>
                <a:lnTo>
                  <a:pt x="1740" y="909"/>
                </a:lnTo>
                <a:lnTo>
                  <a:pt x="1740" y="587"/>
                </a:lnTo>
                <a:lnTo>
                  <a:pt x="1736" y="571"/>
                </a:lnTo>
                <a:lnTo>
                  <a:pt x="1726" y="557"/>
                </a:lnTo>
                <a:lnTo>
                  <a:pt x="1713" y="548"/>
                </a:lnTo>
                <a:lnTo>
                  <a:pt x="1697" y="544"/>
                </a:lnTo>
                <a:lnTo>
                  <a:pt x="1375" y="544"/>
                </a:lnTo>
                <a:close/>
                <a:moveTo>
                  <a:pt x="1032" y="0"/>
                </a:moveTo>
                <a:lnTo>
                  <a:pt x="2770" y="0"/>
                </a:lnTo>
                <a:lnTo>
                  <a:pt x="2787" y="2"/>
                </a:lnTo>
                <a:lnTo>
                  <a:pt x="2801" y="10"/>
                </a:lnTo>
                <a:lnTo>
                  <a:pt x="2813" y="21"/>
                </a:lnTo>
                <a:lnTo>
                  <a:pt x="2820" y="36"/>
                </a:lnTo>
                <a:lnTo>
                  <a:pt x="2823" y="53"/>
                </a:lnTo>
                <a:lnTo>
                  <a:pt x="2823" y="149"/>
                </a:lnTo>
                <a:lnTo>
                  <a:pt x="2820" y="165"/>
                </a:lnTo>
                <a:lnTo>
                  <a:pt x="2813" y="180"/>
                </a:lnTo>
                <a:lnTo>
                  <a:pt x="2801" y="193"/>
                </a:lnTo>
                <a:lnTo>
                  <a:pt x="2787" y="200"/>
                </a:lnTo>
                <a:lnTo>
                  <a:pt x="2770" y="203"/>
                </a:lnTo>
                <a:lnTo>
                  <a:pt x="2764" y="203"/>
                </a:lnTo>
                <a:lnTo>
                  <a:pt x="2761" y="204"/>
                </a:lnTo>
                <a:lnTo>
                  <a:pt x="2757" y="204"/>
                </a:lnTo>
                <a:lnTo>
                  <a:pt x="2756" y="206"/>
                </a:lnTo>
                <a:lnTo>
                  <a:pt x="2755" y="208"/>
                </a:lnTo>
                <a:lnTo>
                  <a:pt x="2754" y="210"/>
                </a:lnTo>
                <a:lnTo>
                  <a:pt x="2754" y="211"/>
                </a:lnTo>
                <a:lnTo>
                  <a:pt x="2754" y="620"/>
                </a:lnTo>
                <a:lnTo>
                  <a:pt x="2754" y="621"/>
                </a:lnTo>
                <a:lnTo>
                  <a:pt x="2754" y="626"/>
                </a:lnTo>
                <a:lnTo>
                  <a:pt x="2756" y="632"/>
                </a:lnTo>
                <a:lnTo>
                  <a:pt x="2761" y="638"/>
                </a:lnTo>
                <a:lnTo>
                  <a:pt x="2768" y="643"/>
                </a:lnTo>
                <a:lnTo>
                  <a:pt x="2779" y="645"/>
                </a:lnTo>
                <a:lnTo>
                  <a:pt x="3528" y="645"/>
                </a:lnTo>
                <a:lnTo>
                  <a:pt x="3553" y="648"/>
                </a:lnTo>
                <a:lnTo>
                  <a:pt x="3575" y="659"/>
                </a:lnTo>
                <a:lnTo>
                  <a:pt x="3596" y="673"/>
                </a:lnTo>
                <a:lnTo>
                  <a:pt x="3611" y="693"/>
                </a:lnTo>
                <a:lnTo>
                  <a:pt x="3621" y="716"/>
                </a:lnTo>
                <a:lnTo>
                  <a:pt x="3624" y="742"/>
                </a:lnTo>
                <a:lnTo>
                  <a:pt x="3624" y="2859"/>
                </a:lnTo>
                <a:lnTo>
                  <a:pt x="3624" y="2860"/>
                </a:lnTo>
                <a:lnTo>
                  <a:pt x="3624" y="2865"/>
                </a:lnTo>
                <a:lnTo>
                  <a:pt x="3626" y="2871"/>
                </a:lnTo>
                <a:lnTo>
                  <a:pt x="3629" y="2878"/>
                </a:lnTo>
                <a:lnTo>
                  <a:pt x="3634" y="2883"/>
                </a:lnTo>
                <a:lnTo>
                  <a:pt x="3640" y="2888"/>
                </a:lnTo>
                <a:lnTo>
                  <a:pt x="3649" y="2889"/>
                </a:lnTo>
                <a:lnTo>
                  <a:pt x="3696" y="2889"/>
                </a:lnTo>
                <a:lnTo>
                  <a:pt x="3713" y="2892"/>
                </a:lnTo>
                <a:lnTo>
                  <a:pt x="3728" y="2899"/>
                </a:lnTo>
                <a:lnTo>
                  <a:pt x="3739" y="2912"/>
                </a:lnTo>
                <a:lnTo>
                  <a:pt x="3747" y="2926"/>
                </a:lnTo>
                <a:lnTo>
                  <a:pt x="3750" y="2943"/>
                </a:lnTo>
                <a:lnTo>
                  <a:pt x="3750" y="3055"/>
                </a:lnTo>
                <a:lnTo>
                  <a:pt x="3747" y="3072"/>
                </a:lnTo>
                <a:lnTo>
                  <a:pt x="3739" y="3087"/>
                </a:lnTo>
                <a:lnTo>
                  <a:pt x="3728" y="3098"/>
                </a:lnTo>
                <a:lnTo>
                  <a:pt x="3713" y="3106"/>
                </a:lnTo>
                <a:lnTo>
                  <a:pt x="3696" y="3108"/>
                </a:lnTo>
                <a:lnTo>
                  <a:pt x="54" y="3108"/>
                </a:lnTo>
                <a:lnTo>
                  <a:pt x="36" y="3106"/>
                </a:lnTo>
                <a:lnTo>
                  <a:pt x="22" y="3098"/>
                </a:lnTo>
                <a:lnTo>
                  <a:pt x="10" y="3087"/>
                </a:lnTo>
                <a:lnTo>
                  <a:pt x="2" y="3072"/>
                </a:lnTo>
                <a:lnTo>
                  <a:pt x="0" y="3055"/>
                </a:lnTo>
                <a:lnTo>
                  <a:pt x="0" y="2943"/>
                </a:lnTo>
                <a:lnTo>
                  <a:pt x="2" y="2926"/>
                </a:lnTo>
                <a:lnTo>
                  <a:pt x="10" y="2912"/>
                </a:lnTo>
                <a:lnTo>
                  <a:pt x="22" y="2899"/>
                </a:lnTo>
                <a:lnTo>
                  <a:pt x="36" y="2892"/>
                </a:lnTo>
                <a:lnTo>
                  <a:pt x="54" y="2889"/>
                </a:lnTo>
                <a:lnTo>
                  <a:pt x="91" y="2889"/>
                </a:lnTo>
                <a:lnTo>
                  <a:pt x="103" y="2889"/>
                </a:lnTo>
                <a:lnTo>
                  <a:pt x="112" y="2887"/>
                </a:lnTo>
                <a:lnTo>
                  <a:pt x="118" y="2882"/>
                </a:lnTo>
                <a:lnTo>
                  <a:pt x="122" y="2876"/>
                </a:lnTo>
                <a:lnTo>
                  <a:pt x="124" y="2866"/>
                </a:lnTo>
                <a:lnTo>
                  <a:pt x="124" y="742"/>
                </a:lnTo>
                <a:lnTo>
                  <a:pt x="128" y="716"/>
                </a:lnTo>
                <a:lnTo>
                  <a:pt x="137" y="693"/>
                </a:lnTo>
                <a:lnTo>
                  <a:pt x="152" y="673"/>
                </a:lnTo>
                <a:lnTo>
                  <a:pt x="172" y="659"/>
                </a:lnTo>
                <a:lnTo>
                  <a:pt x="195" y="648"/>
                </a:lnTo>
                <a:lnTo>
                  <a:pt x="220" y="645"/>
                </a:lnTo>
                <a:lnTo>
                  <a:pt x="1028" y="645"/>
                </a:lnTo>
                <a:lnTo>
                  <a:pt x="1037" y="643"/>
                </a:lnTo>
                <a:lnTo>
                  <a:pt x="1043" y="638"/>
                </a:lnTo>
                <a:lnTo>
                  <a:pt x="1046" y="631"/>
                </a:lnTo>
                <a:lnTo>
                  <a:pt x="1047" y="623"/>
                </a:lnTo>
                <a:lnTo>
                  <a:pt x="1048" y="616"/>
                </a:lnTo>
                <a:lnTo>
                  <a:pt x="1048" y="612"/>
                </a:lnTo>
                <a:lnTo>
                  <a:pt x="1048" y="610"/>
                </a:lnTo>
                <a:lnTo>
                  <a:pt x="1048" y="218"/>
                </a:lnTo>
                <a:lnTo>
                  <a:pt x="1048" y="217"/>
                </a:lnTo>
                <a:lnTo>
                  <a:pt x="1048" y="216"/>
                </a:lnTo>
                <a:lnTo>
                  <a:pt x="1048" y="213"/>
                </a:lnTo>
                <a:lnTo>
                  <a:pt x="1047" y="211"/>
                </a:lnTo>
                <a:lnTo>
                  <a:pt x="1046" y="209"/>
                </a:lnTo>
                <a:lnTo>
                  <a:pt x="1044" y="206"/>
                </a:lnTo>
                <a:lnTo>
                  <a:pt x="1041" y="204"/>
                </a:lnTo>
                <a:lnTo>
                  <a:pt x="1037" y="203"/>
                </a:lnTo>
                <a:lnTo>
                  <a:pt x="1032" y="203"/>
                </a:lnTo>
                <a:lnTo>
                  <a:pt x="1015" y="200"/>
                </a:lnTo>
                <a:lnTo>
                  <a:pt x="1002" y="193"/>
                </a:lnTo>
                <a:lnTo>
                  <a:pt x="989" y="180"/>
                </a:lnTo>
                <a:lnTo>
                  <a:pt x="982" y="165"/>
                </a:lnTo>
                <a:lnTo>
                  <a:pt x="979" y="149"/>
                </a:lnTo>
                <a:lnTo>
                  <a:pt x="979" y="53"/>
                </a:lnTo>
                <a:lnTo>
                  <a:pt x="982" y="36"/>
                </a:lnTo>
                <a:lnTo>
                  <a:pt x="989" y="21"/>
                </a:lnTo>
                <a:lnTo>
                  <a:pt x="1002" y="10"/>
                </a:lnTo>
                <a:lnTo>
                  <a:pt x="1015" y="2"/>
                </a:lnTo>
                <a:lnTo>
                  <a:pt x="1032" y="0"/>
                </a:lnTo>
                <a:close/>
              </a:path>
            </a:pathLst>
          </a:custGeom>
          <a:solidFill>
            <a:srgbClr val="02467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12CE93E1-3D63-4153-B911-169016BC1ECB}"/>
              </a:ext>
            </a:extLst>
          </p:cNvPr>
          <p:cNvSpPr/>
          <p:nvPr/>
        </p:nvSpPr>
        <p:spPr>
          <a:xfrm>
            <a:off x="7142641" y="5134057"/>
            <a:ext cx="2763792" cy="2231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33" b="1" i="0" u="none" strike="noStrike" kern="1200" cap="none" spc="0" normalizeH="0" baseline="0" noProof="0" dirty="0">
                <a:ln>
                  <a:noFill/>
                </a:ln>
                <a:solidFill>
                  <a:srgbClr val="02467C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aputo, Mozambique</a:t>
            </a:r>
            <a:r>
              <a:rPr kumimoji="0" lang="en-ZA" sz="1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ZA" sz="1133" b="0" i="0" u="none" strike="noStrike" kern="1200" cap="none" spc="0" normalizeH="0" baseline="0" noProof="0" dirty="0">
                <a:ln>
                  <a:noFill/>
                </a:ln>
                <a:solidFill>
                  <a:srgbClr val="02467C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| Office</a:t>
            </a:r>
          </a:p>
        </p:txBody>
      </p:sp>
      <p:cxnSp>
        <p:nvCxnSpPr>
          <p:cNvPr id="555" name="Straight Connector 585">
            <a:extLst>
              <a:ext uri="{FF2B5EF4-FFF2-40B4-BE49-F238E27FC236}">
                <a16:creationId xmlns:a16="http://schemas.microsoft.com/office/drawing/2014/main" id="{B00B0D47-ED3C-4DCE-B132-E6DD653FF036}"/>
              </a:ext>
            </a:extLst>
          </p:cNvPr>
          <p:cNvCxnSpPr>
            <a:cxnSpLocks/>
            <a:stCxn id="557" idx="6"/>
          </p:cNvCxnSpPr>
          <p:nvPr/>
        </p:nvCxnSpPr>
        <p:spPr>
          <a:xfrm>
            <a:off x="6608323" y="5095968"/>
            <a:ext cx="173459" cy="142437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7" name="Oval 556">
            <a:extLst>
              <a:ext uri="{FF2B5EF4-FFF2-40B4-BE49-F238E27FC236}">
                <a16:creationId xmlns:a16="http://schemas.microsoft.com/office/drawing/2014/main" id="{9FF253D8-ED06-4115-87B0-DFCD6B73F6D3}"/>
              </a:ext>
            </a:extLst>
          </p:cNvPr>
          <p:cNvSpPr/>
          <p:nvPr/>
        </p:nvSpPr>
        <p:spPr>
          <a:xfrm>
            <a:off x="6494743" y="5039615"/>
            <a:ext cx="113580" cy="112705"/>
          </a:xfrm>
          <a:prstGeom prst="ellipse">
            <a:avLst/>
          </a:prstGeom>
          <a:solidFill>
            <a:srgbClr val="02467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753E4500-F16E-4C00-9B37-C41428118329}"/>
              </a:ext>
            </a:extLst>
          </p:cNvPr>
          <p:cNvSpPr/>
          <p:nvPr/>
        </p:nvSpPr>
        <p:spPr>
          <a:xfrm>
            <a:off x="7251438" y="2588766"/>
            <a:ext cx="2763792" cy="2231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33" b="1" i="0" u="none" strike="noStrike" kern="1200" cap="none" spc="0" normalizeH="0" baseline="0" noProof="0" dirty="0">
                <a:ln>
                  <a:noFill/>
                </a:ln>
                <a:solidFill>
                  <a:srgbClr val="02467C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iro, Egypt</a:t>
            </a:r>
            <a:r>
              <a:rPr kumimoji="0" lang="en-ZA" sz="1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ZA" sz="1133" b="0" i="0" u="none" strike="noStrike" kern="1200" cap="none" spc="0" normalizeH="0" baseline="0" noProof="0" dirty="0">
                <a:ln>
                  <a:noFill/>
                </a:ln>
                <a:solidFill>
                  <a:srgbClr val="02467C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| Office</a:t>
            </a:r>
          </a:p>
        </p:txBody>
      </p:sp>
      <p:sp>
        <p:nvSpPr>
          <p:cNvPr id="229" name="Freeform 51">
            <a:extLst>
              <a:ext uri="{FF2B5EF4-FFF2-40B4-BE49-F238E27FC236}">
                <a16:creationId xmlns:a16="http://schemas.microsoft.com/office/drawing/2014/main" id="{45A57B1B-8355-4033-B805-CC34BADE7D0C}"/>
              </a:ext>
            </a:extLst>
          </p:cNvPr>
          <p:cNvSpPr>
            <a:spLocks noEditPoints="1"/>
          </p:cNvSpPr>
          <p:nvPr/>
        </p:nvSpPr>
        <p:spPr bwMode="auto">
          <a:xfrm>
            <a:off x="6992902" y="2606432"/>
            <a:ext cx="189301" cy="187841"/>
          </a:xfrm>
          <a:custGeom>
            <a:avLst/>
            <a:gdLst>
              <a:gd name="T0" fmla="*/ 1613 w 3750"/>
              <a:gd name="T1" fmla="*/ 2844 h 3108"/>
              <a:gd name="T2" fmla="*/ 2171 w 3750"/>
              <a:gd name="T3" fmla="*/ 2883 h 3108"/>
              <a:gd name="T4" fmla="*/ 2184 w 3750"/>
              <a:gd name="T5" fmla="*/ 2315 h 3108"/>
              <a:gd name="T6" fmla="*/ 2893 w 3750"/>
              <a:gd name="T7" fmla="*/ 2222 h 3108"/>
              <a:gd name="T8" fmla="*/ 2907 w 3750"/>
              <a:gd name="T9" fmla="*/ 2615 h 3108"/>
              <a:gd name="T10" fmla="*/ 3288 w 3750"/>
              <a:gd name="T11" fmla="*/ 2575 h 3108"/>
              <a:gd name="T12" fmla="*/ 2924 w 3750"/>
              <a:gd name="T13" fmla="*/ 2210 h 3108"/>
              <a:gd name="T14" fmla="*/ 460 w 3750"/>
              <a:gd name="T15" fmla="*/ 2575 h 3108"/>
              <a:gd name="T16" fmla="*/ 841 w 3750"/>
              <a:gd name="T17" fmla="*/ 2615 h 3108"/>
              <a:gd name="T18" fmla="*/ 855 w 3750"/>
              <a:gd name="T19" fmla="*/ 2222 h 3108"/>
              <a:gd name="T20" fmla="*/ 2893 w 3750"/>
              <a:gd name="T21" fmla="*/ 1677 h 3108"/>
              <a:gd name="T22" fmla="*/ 2907 w 3750"/>
              <a:gd name="T23" fmla="*/ 2069 h 3108"/>
              <a:gd name="T24" fmla="*/ 3288 w 3750"/>
              <a:gd name="T25" fmla="*/ 2029 h 3108"/>
              <a:gd name="T26" fmla="*/ 2924 w 3750"/>
              <a:gd name="T27" fmla="*/ 1665 h 3108"/>
              <a:gd name="T28" fmla="*/ 460 w 3750"/>
              <a:gd name="T29" fmla="*/ 2029 h 3108"/>
              <a:gd name="T30" fmla="*/ 841 w 3750"/>
              <a:gd name="T31" fmla="*/ 2069 h 3108"/>
              <a:gd name="T32" fmla="*/ 855 w 3750"/>
              <a:gd name="T33" fmla="*/ 1677 h 3108"/>
              <a:gd name="T34" fmla="*/ 2076 w 3750"/>
              <a:gd name="T35" fmla="*/ 1667 h 3108"/>
              <a:gd name="T36" fmla="*/ 2090 w 3750"/>
              <a:gd name="T37" fmla="*/ 2059 h 3108"/>
              <a:gd name="T38" fmla="*/ 2471 w 3750"/>
              <a:gd name="T39" fmla="*/ 2020 h 3108"/>
              <a:gd name="T40" fmla="*/ 2107 w 3750"/>
              <a:gd name="T41" fmla="*/ 1654 h 3108"/>
              <a:gd name="T42" fmla="*/ 1332 w 3750"/>
              <a:gd name="T43" fmla="*/ 2020 h 3108"/>
              <a:gd name="T44" fmla="*/ 1713 w 3750"/>
              <a:gd name="T45" fmla="*/ 2059 h 3108"/>
              <a:gd name="T46" fmla="*/ 1726 w 3750"/>
              <a:gd name="T47" fmla="*/ 1667 h 3108"/>
              <a:gd name="T48" fmla="*/ 2076 w 3750"/>
              <a:gd name="T49" fmla="*/ 1121 h 3108"/>
              <a:gd name="T50" fmla="*/ 2090 w 3750"/>
              <a:gd name="T51" fmla="*/ 1514 h 3108"/>
              <a:gd name="T52" fmla="*/ 2471 w 3750"/>
              <a:gd name="T53" fmla="*/ 1474 h 3108"/>
              <a:gd name="T54" fmla="*/ 2107 w 3750"/>
              <a:gd name="T55" fmla="*/ 1109 h 3108"/>
              <a:gd name="T56" fmla="*/ 1332 w 3750"/>
              <a:gd name="T57" fmla="*/ 1474 h 3108"/>
              <a:gd name="T58" fmla="*/ 1713 w 3750"/>
              <a:gd name="T59" fmla="*/ 1514 h 3108"/>
              <a:gd name="T60" fmla="*/ 1726 w 3750"/>
              <a:gd name="T61" fmla="*/ 1121 h 3108"/>
              <a:gd name="T62" fmla="*/ 2893 w 3750"/>
              <a:gd name="T63" fmla="*/ 1112 h 3108"/>
              <a:gd name="T64" fmla="*/ 2907 w 3750"/>
              <a:gd name="T65" fmla="*/ 1504 h 3108"/>
              <a:gd name="T66" fmla="*/ 3288 w 3750"/>
              <a:gd name="T67" fmla="*/ 1465 h 3108"/>
              <a:gd name="T68" fmla="*/ 2924 w 3750"/>
              <a:gd name="T69" fmla="*/ 1099 h 3108"/>
              <a:gd name="T70" fmla="*/ 460 w 3750"/>
              <a:gd name="T71" fmla="*/ 1465 h 3108"/>
              <a:gd name="T72" fmla="*/ 841 w 3750"/>
              <a:gd name="T73" fmla="*/ 1504 h 3108"/>
              <a:gd name="T74" fmla="*/ 855 w 3750"/>
              <a:gd name="T75" fmla="*/ 1112 h 3108"/>
              <a:gd name="T76" fmla="*/ 2076 w 3750"/>
              <a:gd name="T77" fmla="*/ 557 h 3108"/>
              <a:gd name="T78" fmla="*/ 2090 w 3750"/>
              <a:gd name="T79" fmla="*/ 949 h 3108"/>
              <a:gd name="T80" fmla="*/ 2471 w 3750"/>
              <a:gd name="T81" fmla="*/ 909 h 3108"/>
              <a:gd name="T82" fmla="*/ 2107 w 3750"/>
              <a:gd name="T83" fmla="*/ 544 h 3108"/>
              <a:gd name="T84" fmla="*/ 1332 w 3750"/>
              <a:gd name="T85" fmla="*/ 909 h 3108"/>
              <a:gd name="T86" fmla="*/ 1713 w 3750"/>
              <a:gd name="T87" fmla="*/ 949 h 3108"/>
              <a:gd name="T88" fmla="*/ 1726 w 3750"/>
              <a:gd name="T89" fmla="*/ 557 h 3108"/>
              <a:gd name="T90" fmla="*/ 2787 w 3750"/>
              <a:gd name="T91" fmla="*/ 2 h 3108"/>
              <a:gd name="T92" fmla="*/ 2820 w 3750"/>
              <a:gd name="T93" fmla="*/ 165 h 3108"/>
              <a:gd name="T94" fmla="*/ 2761 w 3750"/>
              <a:gd name="T95" fmla="*/ 204 h 3108"/>
              <a:gd name="T96" fmla="*/ 2754 w 3750"/>
              <a:gd name="T97" fmla="*/ 620 h 3108"/>
              <a:gd name="T98" fmla="*/ 2779 w 3750"/>
              <a:gd name="T99" fmla="*/ 645 h 3108"/>
              <a:gd name="T100" fmla="*/ 3621 w 3750"/>
              <a:gd name="T101" fmla="*/ 716 h 3108"/>
              <a:gd name="T102" fmla="*/ 3629 w 3750"/>
              <a:gd name="T103" fmla="*/ 2878 h 3108"/>
              <a:gd name="T104" fmla="*/ 3728 w 3750"/>
              <a:gd name="T105" fmla="*/ 2899 h 3108"/>
              <a:gd name="T106" fmla="*/ 3739 w 3750"/>
              <a:gd name="T107" fmla="*/ 3087 h 3108"/>
              <a:gd name="T108" fmla="*/ 22 w 3750"/>
              <a:gd name="T109" fmla="*/ 3098 h 3108"/>
              <a:gd name="T110" fmla="*/ 10 w 3750"/>
              <a:gd name="T111" fmla="*/ 2912 h 3108"/>
              <a:gd name="T112" fmla="*/ 112 w 3750"/>
              <a:gd name="T113" fmla="*/ 2887 h 3108"/>
              <a:gd name="T114" fmla="*/ 137 w 3750"/>
              <a:gd name="T115" fmla="*/ 693 h 3108"/>
              <a:gd name="T116" fmla="*/ 1037 w 3750"/>
              <a:gd name="T117" fmla="*/ 643 h 3108"/>
              <a:gd name="T118" fmla="*/ 1048 w 3750"/>
              <a:gd name="T119" fmla="*/ 610 h 3108"/>
              <a:gd name="T120" fmla="*/ 1046 w 3750"/>
              <a:gd name="T121" fmla="*/ 209 h 3108"/>
              <a:gd name="T122" fmla="*/ 1002 w 3750"/>
              <a:gd name="T123" fmla="*/ 193 h 3108"/>
              <a:gd name="T124" fmla="*/ 989 w 3750"/>
              <a:gd name="T125" fmla="*/ 21 h 3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50" h="3108">
                <a:moveTo>
                  <a:pt x="1657" y="2302"/>
                </a:moveTo>
                <a:lnTo>
                  <a:pt x="1640" y="2305"/>
                </a:lnTo>
                <a:lnTo>
                  <a:pt x="1626" y="2315"/>
                </a:lnTo>
                <a:lnTo>
                  <a:pt x="1617" y="2328"/>
                </a:lnTo>
                <a:lnTo>
                  <a:pt x="1613" y="2345"/>
                </a:lnTo>
                <a:lnTo>
                  <a:pt x="1613" y="2844"/>
                </a:lnTo>
                <a:lnTo>
                  <a:pt x="1617" y="2860"/>
                </a:lnTo>
                <a:lnTo>
                  <a:pt x="1626" y="2874"/>
                </a:lnTo>
                <a:lnTo>
                  <a:pt x="1640" y="2883"/>
                </a:lnTo>
                <a:lnTo>
                  <a:pt x="1657" y="2887"/>
                </a:lnTo>
                <a:lnTo>
                  <a:pt x="2155" y="2887"/>
                </a:lnTo>
                <a:lnTo>
                  <a:pt x="2171" y="2883"/>
                </a:lnTo>
                <a:lnTo>
                  <a:pt x="2184" y="2874"/>
                </a:lnTo>
                <a:lnTo>
                  <a:pt x="2193" y="2860"/>
                </a:lnTo>
                <a:lnTo>
                  <a:pt x="2197" y="2844"/>
                </a:lnTo>
                <a:lnTo>
                  <a:pt x="2197" y="2345"/>
                </a:lnTo>
                <a:lnTo>
                  <a:pt x="2193" y="2328"/>
                </a:lnTo>
                <a:lnTo>
                  <a:pt x="2184" y="2315"/>
                </a:lnTo>
                <a:lnTo>
                  <a:pt x="2171" y="2305"/>
                </a:lnTo>
                <a:lnTo>
                  <a:pt x="2155" y="2302"/>
                </a:lnTo>
                <a:lnTo>
                  <a:pt x="1657" y="2302"/>
                </a:lnTo>
                <a:close/>
                <a:moveTo>
                  <a:pt x="2924" y="2210"/>
                </a:moveTo>
                <a:lnTo>
                  <a:pt x="2907" y="2213"/>
                </a:lnTo>
                <a:lnTo>
                  <a:pt x="2893" y="2222"/>
                </a:lnTo>
                <a:lnTo>
                  <a:pt x="2884" y="2236"/>
                </a:lnTo>
                <a:lnTo>
                  <a:pt x="2880" y="2253"/>
                </a:lnTo>
                <a:lnTo>
                  <a:pt x="2880" y="2575"/>
                </a:lnTo>
                <a:lnTo>
                  <a:pt x="2884" y="2592"/>
                </a:lnTo>
                <a:lnTo>
                  <a:pt x="2893" y="2605"/>
                </a:lnTo>
                <a:lnTo>
                  <a:pt x="2907" y="2615"/>
                </a:lnTo>
                <a:lnTo>
                  <a:pt x="2924" y="2618"/>
                </a:lnTo>
                <a:lnTo>
                  <a:pt x="3245" y="2618"/>
                </a:lnTo>
                <a:lnTo>
                  <a:pt x="3262" y="2615"/>
                </a:lnTo>
                <a:lnTo>
                  <a:pt x="3276" y="2605"/>
                </a:lnTo>
                <a:lnTo>
                  <a:pt x="3285" y="2592"/>
                </a:lnTo>
                <a:lnTo>
                  <a:pt x="3288" y="2575"/>
                </a:lnTo>
                <a:lnTo>
                  <a:pt x="3288" y="2253"/>
                </a:lnTo>
                <a:lnTo>
                  <a:pt x="3285" y="2236"/>
                </a:lnTo>
                <a:lnTo>
                  <a:pt x="3276" y="2222"/>
                </a:lnTo>
                <a:lnTo>
                  <a:pt x="3262" y="2213"/>
                </a:lnTo>
                <a:lnTo>
                  <a:pt x="3245" y="2210"/>
                </a:lnTo>
                <a:lnTo>
                  <a:pt x="2924" y="2210"/>
                </a:lnTo>
                <a:close/>
                <a:moveTo>
                  <a:pt x="502" y="2210"/>
                </a:moveTo>
                <a:lnTo>
                  <a:pt x="487" y="2213"/>
                </a:lnTo>
                <a:lnTo>
                  <a:pt x="473" y="2222"/>
                </a:lnTo>
                <a:lnTo>
                  <a:pt x="463" y="2236"/>
                </a:lnTo>
                <a:lnTo>
                  <a:pt x="460" y="2253"/>
                </a:lnTo>
                <a:lnTo>
                  <a:pt x="460" y="2575"/>
                </a:lnTo>
                <a:lnTo>
                  <a:pt x="463" y="2592"/>
                </a:lnTo>
                <a:lnTo>
                  <a:pt x="473" y="2605"/>
                </a:lnTo>
                <a:lnTo>
                  <a:pt x="487" y="2615"/>
                </a:lnTo>
                <a:lnTo>
                  <a:pt x="502" y="2618"/>
                </a:lnTo>
                <a:lnTo>
                  <a:pt x="824" y="2618"/>
                </a:lnTo>
                <a:lnTo>
                  <a:pt x="841" y="2615"/>
                </a:lnTo>
                <a:lnTo>
                  <a:pt x="855" y="2605"/>
                </a:lnTo>
                <a:lnTo>
                  <a:pt x="864" y="2592"/>
                </a:lnTo>
                <a:lnTo>
                  <a:pt x="867" y="2575"/>
                </a:lnTo>
                <a:lnTo>
                  <a:pt x="867" y="2253"/>
                </a:lnTo>
                <a:lnTo>
                  <a:pt x="864" y="2236"/>
                </a:lnTo>
                <a:lnTo>
                  <a:pt x="855" y="2222"/>
                </a:lnTo>
                <a:lnTo>
                  <a:pt x="841" y="2213"/>
                </a:lnTo>
                <a:lnTo>
                  <a:pt x="824" y="2210"/>
                </a:lnTo>
                <a:lnTo>
                  <a:pt x="502" y="2210"/>
                </a:lnTo>
                <a:close/>
                <a:moveTo>
                  <a:pt x="2924" y="1665"/>
                </a:moveTo>
                <a:lnTo>
                  <a:pt x="2907" y="1668"/>
                </a:lnTo>
                <a:lnTo>
                  <a:pt x="2893" y="1677"/>
                </a:lnTo>
                <a:lnTo>
                  <a:pt x="2884" y="1691"/>
                </a:lnTo>
                <a:lnTo>
                  <a:pt x="2880" y="1707"/>
                </a:lnTo>
                <a:lnTo>
                  <a:pt x="2880" y="2029"/>
                </a:lnTo>
                <a:lnTo>
                  <a:pt x="2884" y="2046"/>
                </a:lnTo>
                <a:lnTo>
                  <a:pt x="2893" y="2060"/>
                </a:lnTo>
                <a:lnTo>
                  <a:pt x="2907" y="2069"/>
                </a:lnTo>
                <a:lnTo>
                  <a:pt x="2924" y="2072"/>
                </a:lnTo>
                <a:lnTo>
                  <a:pt x="3245" y="2072"/>
                </a:lnTo>
                <a:lnTo>
                  <a:pt x="3262" y="2069"/>
                </a:lnTo>
                <a:lnTo>
                  <a:pt x="3276" y="2060"/>
                </a:lnTo>
                <a:lnTo>
                  <a:pt x="3285" y="2046"/>
                </a:lnTo>
                <a:lnTo>
                  <a:pt x="3288" y="2029"/>
                </a:lnTo>
                <a:lnTo>
                  <a:pt x="3288" y="1707"/>
                </a:lnTo>
                <a:lnTo>
                  <a:pt x="3285" y="1691"/>
                </a:lnTo>
                <a:lnTo>
                  <a:pt x="3276" y="1677"/>
                </a:lnTo>
                <a:lnTo>
                  <a:pt x="3262" y="1668"/>
                </a:lnTo>
                <a:lnTo>
                  <a:pt x="3245" y="1665"/>
                </a:lnTo>
                <a:lnTo>
                  <a:pt x="2924" y="1665"/>
                </a:lnTo>
                <a:close/>
                <a:moveTo>
                  <a:pt x="502" y="1665"/>
                </a:moveTo>
                <a:lnTo>
                  <a:pt x="487" y="1668"/>
                </a:lnTo>
                <a:lnTo>
                  <a:pt x="473" y="1677"/>
                </a:lnTo>
                <a:lnTo>
                  <a:pt x="463" y="1691"/>
                </a:lnTo>
                <a:lnTo>
                  <a:pt x="460" y="1707"/>
                </a:lnTo>
                <a:lnTo>
                  <a:pt x="460" y="2029"/>
                </a:lnTo>
                <a:lnTo>
                  <a:pt x="463" y="2046"/>
                </a:lnTo>
                <a:lnTo>
                  <a:pt x="473" y="2060"/>
                </a:lnTo>
                <a:lnTo>
                  <a:pt x="487" y="2069"/>
                </a:lnTo>
                <a:lnTo>
                  <a:pt x="502" y="2072"/>
                </a:lnTo>
                <a:lnTo>
                  <a:pt x="824" y="2072"/>
                </a:lnTo>
                <a:lnTo>
                  <a:pt x="841" y="2069"/>
                </a:lnTo>
                <a:lnTo>
                  <a:pt x="855" y="2060"/>
                </a:lnTo>
                <a:lnTo>
                  <a:pt x="864" y="2046"/>
                </a:lnTo>
                <a:lnTo>
                  <a:pt x="867" y="2029"/>
                </a:lnTo>
                <a:lnTo>
                  <a:pt x="867" y="1707"/>
                </a:lnTo>
                <a:lnTo>
                  <a:pt x="864" y="1691"/>
                </a:lnTo>
                <a:lnTo>
                  <a:pt x="855" y="1677"/>
                </a:lnTo>
                <a:lnTo>
                  <a:pt x="841" y="1668"/>
                </a:lnTo>
                <a:lnTo>
                  <a:pt x="824" y="1665"/>
                </a:lnTo>
                <a:lnTo>
                  <a:pt x="502" y="1665"/>
                </a:lnTo>
                <a:close/>
                <a:moveTo>
                  <a:pt x="2107" y="1654"/>
                </a:moveTo>
                <a:lnTo>
                  <a:pt x="2090" y="1658"/>
                </a:lnTo>
                <a:lnTo>
                  <a:pt x="2076" y="1667"/>
                </a:lnTo>
                <a:lnTo>
                  <a:pt x="2067" y="1681"/>
                </a:lnTo>
                <a:lnTo>
                  <a:pt x="2063" y="1698"/>
                </a:lnTo>
                <a:lnTo>
                  <a:pt x="2063" y="2020"/>
                </a:lnTo>
                <a:lnTo>
                  <a:pt x="2067" y="2036"/>
                </a:lnTo>
                <a:lnTo>
                  <a:pt x="2076" y="2050"/>
                </a:lnTo>
                <a:lnTo>
                  <a:pt x="2090" y="2059"/>
                </a:lnTo>
                <a:lnTo>
                  <a:pt x="2107" y="2062"/>
                </a:lnTo>
                <a:lnTo>
                  <a:pt x="2428" y="2062"/>
                </a:lnTo>
                <a:lnTo>
                  <a:pt x="2445" y="2059"/>
                </a:lnTo>
                <a:lnTo>
                  <a:pt x="2458" y="2050"/>
                </a:lnTo>
                <a:lnTo>
                  <a:pt x="2468" y="2036"/>
                </a:lnTo>
                <a:lnTo>
                  <a:pt x="2471" y="2020"/>
                </a:lnTo>
                <a:lnTo>
                  <a:pt x="2471" y="1698"/>
                </a:lnTo>
                <a:lnTo>
                  <a:pt x="2468" y="1681"/>
                </a:lnTo>
                <a:lnTo>
                  <a:pt x="2458" y="1667"/>
                </a:lnTo>
                <a:lnTo>
                  <a:pt x="2445" y="1658"/>
                </a:lnTo>
                <a:lnTo>
                  <a:pt x="2428" y="1654"/>
                </a:lnTo>
                <a:lnTo>
                  <a:pt x="2107" y="1654"/>
                </a:lnTo>
                <a:close/>
                <a:moveTo>
                  <a:pt x="1375" y="1654"/>
                </a:moveTo>
                <a:lnTo>
                  <a:pt x="1358" y="1658"/>
                </a:lnTo>
                <a:lnTo>
                  <a:pt x="1344" y="1667"/>
                </a:lnTo>
                <a:lnTo>
                  <a:pt x="1335" y="1681"/>
                </a:lnTo>
                <a:lnTo>
                  <a:pt x="1332" y="1698"/>
                </a:lnTo>
                <a:lnTo>
                  <a:pt x="1332" y="2020"/>
                </a:lnTo>
                <a:lnTo>
                  <a:pt x="1335" y="2036"/>
                </a:lnTo>
                <a:lnTo>
                  <a:pt x="1344" y="2050"/>
                </a:lnTo>
                <a:lnTo>
                  <a:pt x="1358" y="2059"/>
                </a:lnTo>
                <a:lnTo>
                  <a:pt x="1375" y="2062"/>
                </a:lnTo>
                <a:lnTo>
                  <a:pt x="1697" y="2062"/>
                </a:lnTo>
                <a:lnTo>
                  <a:pt x="1713" y="2059"/>
                </a:lnTo>
                <a:lnTo>
                  <a:pt x="1726" y="2050"/>
                </a:lnTo>
                <a:lnTo>
                  <a:pt x="1736" y="2036"/>
                </a:lnTo>
                <a:lnTo>
                  <a:pt x="1740" y="2020"/>
                </a:lnTo>
                <a:lnTo>
                  <a:pt x="1740" y="1698"/>
                </a:lnTo>
                <a:lnTo>
                  <a:pt x="1736" y="1681"/>
                </a:lnTo>
                <a:lnTo>
                  <a:pt x="1726" y="1667"/>
                </a:lnTo>
                <a:lnTo>
                  <a:pt x="1713" y="1658"/>
                </a:lnTo>
                <a:lnTo>
                  <a:pt x="1697" y="1654"/>
                </a:lnTo>
                <a:lnTo>
                  <a:pt x="1375" y="1654"/>
                </a:lnTo>
                <a:close/>
                <a:moveTo>
                  <a:pt x="2107" y="1109"/>
                </a:moveTo>
                <a:lnTo>
                  <a:pt x="2090" y="1112"/>
                </a:lnTo>
                <a:lnTo>
                  <a:pt x="2076" y="1121"/>
                </a:lnTo>
                <a:lnTo>
                  <a:pt x="2067" y="1135"/>
                </a:lnTo>
                <a:lnTo>
                  <a:pt x="2063" y="1152"/>
                </a:lnTo>
                <a:lnTo>
                  <a:pt x="2063" y="1474"/>
                </a:lnTo>
                <a:lnTo>
                  <a:pt x="2067" y="1491"/>
                </a:lnTo>
                <a:lnTo>
                  <a:pt x="2076" y="1505"/>
                </a:lnTo>
                <a:lnTo>
                  <a:pt x="2090" y="1514"/>
                </a:lnTo>
                <a:lnTo>
                  <a:pt x="2107" y="1517"/>
                </a:lnTo>
                <a:lnTo>
                  <a:pt x="2428" y="1517"/>
                </a:lnTo>
                <a:lnTo>
                  <a:pt x="2445" y="1514"/>
                </a:lnTo>
                <a:lnTo>
                  <a:pt x="2458" y="1505"/>
                </a:lnTo>
                <a:lnTo>
                  <a:pt x="2468" y="1491"/>
                </a:lnTo>
                <a:lnTo>
                  <a:pt x="2471" y="1474"/>
                </a:lnTo>
                <a:lnTo>
                  <a:pt x="2471" y="1152"/>
                </a:lnTo>
                <a:lnTo>
                  <a:pt x="2468" y="1135"/>
                </a:lnTo>
                <a:lnTo>
                  <a:pt x="2458" y="1121"/>
                </a:lnTo>
                <a:lnTo>
                  <a:pt x="2445" y="1112"/>
                </a:lnTo>
                <a:lnTo>
                  <a:pt x="2428" y="1109"/>
                </a:lnTo>
                <a:lnTo>
                  <a:pt x="2107" y="1109"/>
                </a:lnTo>
                <a:close/>
                <a:moveTo>
                  <a:pt x="1375" y="1109"/>
                </a:moveTo>
                <a:lnTo>
                  <a:pt x="1358" y="1112"/>
                </a:lnTo>
                <a:lnTo>
                  <a:pt x="1344" y="1121"/>
                </a:lnTo>
                <a:lnTo>
                  <a:pt x="1335" y="1135"/>
                </a:lnTo>
                <a:lnTo>
                  <a:pt x="1332" y="1152"/>
                </a:lnTo>
                <a:lnTo>
                  <a:pt x="1332" y="1474"/>
                </a:lnTo>
                <a:lnTo>
                  <a:pt x="1335" y="1491"/>
                </a:lnTo>
                <a:lnTo>
                  <a:pt x="1344" y="1505"/>
                </a:lnTo>
                <a:lnTo>
                  <a:pt x="1358" y="1514"/>
                </a:lnTo>
                <a:lnTo>
                  <a:pt x="1375" y="1517"/>
                </a:lnTo>
                <a:lnTo>
                  <a:pt x="1697" y="1517"/>
                </a:lnTo>
                <a:lnTo>
                  <a:pt x="1713" y="1514"/>
                </a:lnTo>
                <a:lnTo>
                  <a:pt x="1726" y="1505"/>
                </a:lnTo>
                <a:lnTo>
                  <a:pt x="1736" y="1491"/>
                </a:lnTo>
                <a:lnTo>
                  <a:pt x="1740" y="1474"/>
                </a:lnTo>
                <a:lnTo>
                  <a:pt x="1740" y="1152"/>
                </a:lnTo>
                <a:lnTo>
                  <a:pt x="1736" y="1135"/>
                </a:lnTo>
                <a:lnTo>
                  <a:pt x="1726" y="1121"/>
                </a:lnTo>
                <a:lnTo>
                  <a:pt x="1713" y="1112"/>
                </a:lnTo>
                <a:lnTo>
                  <a:pt x="1697" y="1109"/>
                </a:lnTo>
                <a:lnTo>
                  <a:pt x="1375" y="1109"/>
                </a:lnTo>
                <a:close/>
                <a:moveTo>
                  <a:pt x="2924" y="1099"/>
                </a:moveTo>
                <a:lnTo>
                  <a:pt x="2907" y="1103"/>
                </a:lnTo>
                <a:lnTo>
                  <a:pt x="2893" y="1112"/>
                </a:lnTo>
                <a:lnTo>
                  <a:pt x="2884" y="1126"/>
                </a:lnTo>
                <a:lnTo>
                  <a:pt x="2880" y="1142"/>
                </a:lnTo>
                <a:lnTo>
                  <a:pt x="2880" y="1465"/>
                </a:lnTo>
                <a:lnTo>
                  <a:pt x="2884" y="1481"/>
                </a:lnTo>
                <a:lnTo>
                  <a:pt x="2893" y="1495"/>
                </a:lnTo>
                <a:lnTo>
                  <a:pt x="2907" y="1504"/>
                </a:lnTo>
                <a:lnTo>
                  <a:pt x="2924" y="1507"/>
                </a:lnTo>
                <a:lnTo>
                  <a:pt x="3245" y="1507"/>
                </a:lnTo>
                <a:lnTo>
                  <a:pt x="3262" y="1504"/>
                </a:lnTo>
                <a:lnTo>
                  <a:pt x="3276" y="1495"/>
                </a:lnTo>
                <a:lnTo>
                  <a:pt x="3285" y="1481"/>
                </a:lnTo>
                <a:lnTo>
                  <a:pt x="3288" y="1465"/>
                </a:lnTo>
                <a:lnTo>
                  <a:pt x="3288" y="1142"/>
                </a:lnTo>
                <a:lnTo>
                  <a:pt x="3285" y="1126"/>
                </a:lnTo>
                <a:lnTo>
                  <a:pt x="3276" y="1112"/>
                </a:lnTo>
                <a:lnTo>
                  <a:pt x="3262" y="1103"/>
                </a:lnTo>
                <a:lnTo>
                  <a:pt x="3245" y="1099"/>
                </a:lnTo>
                <a:lnTo>
                  <a:pt x="2924" y="1099"/>
                </a:lnTo>
                <a:close/>
                <a:moveTo>
                  <a:pt x="502" y="1099"/>
                </a:moveTo>
                <a:lnTo>
                  <a:pt x="487" y="1103"/>
                </a:lnTo>
                <a:lnTo>
                  <a:pt x="473" y="1112"/>
                </a:lnTo>
                <a:lnTo>
                  <a:pt x="463" y="1126"/>
                </a:lnTo>
                <a:lnTo>
                  <a:pt x="460" y="1142"/>
                </a:lnTo>
                <a:lnTo>
                  <a:pt x="460" y="1465"/>
                </a:lnTo>
                <a:lnTo>
                  <a:pt x="463" y="1481"/>
                </a:lnTo>
                <a:lnTo>
                  <a:pt x="473" y="1495"/>
                </a:lnTo>
                <a:lnTo>
                  <a:pt x="487" y="1504"/>
                </a:lnTo>
                <a:lnTo>
                  <a:pt x="502" y="1507"/>
                </a:lnTo>
                <a:lnTo>
                  <a:pt x="824" y="1507"/>
                </a:lnTo>
                <a:lnTo>
                  <a:pt x="841" y="1504"/>
                </a:lnTo>
                <a:lnTo>
                  <a:pt x="855" y="1495"/>
                </a:lnTo>
                <a:lnTo>
                  <a:pt x="864" y="1481"/>
                </a:lnTo>
                <a:lnTo>
                  <a:pt x="867" y="1465"/>
                </a:lnTo>
                <a:lnTo>
                  <a:pt x="867" y="1142"/>
                </a:lnTo>
                <a:lnTo>
                  <a:pt x="864" y="1126"/>
                </a:lnTo>
                <a:lnTo>
                  <a:pt x="855" y="1112"/>
                </a:lnTo>
                <a:lnTo>
                  <a:pt x="841" y="1103"/>
                </a:lnTo>
                <a:lnTo>
                  <a:pt x="824" y="1099"/>
                </a:lnTo>
                <a:lnTo>
                  <a:pt x="502" y="1099"/>
                </a:lnTo>
                <a:close/>
                <a:moveTo>
                  <a:pt x="2107" y="544"/>
                </a:moveTo>
                <a:lnTo>
                  <a:pt x="2090" y="548"/>
                </a:lnTo>
                <a:lnTo>
                  <a:pt x="2076" y="557"/>
                </a:lnTo>
                <a:lnTo>
                  <a:pt x="2067" y="571"/>
                </a:lnTo>
                <a:lnTo>
                  <a:pt x="2063" y="587"/>
                </a:lnTo>
                <a:lnTo>
                  <a:pt x="2063" y="909"/>
                </a:lnTo>
                <a:lnTo>
                  <a:pt x="2067" y="926"/>
                </a:lnTo>
                <a:lnTo>
                  <a:pt x="2076" y="940"/>
                </a:lnTo>
                <a:lnTo>
                  <a:pt x="2090" y="949"/>
                </a:lnTo>
                <a:lnTo>
                  <a:pt x="2107" y="952"/>
                </a:lnTo>
                <a:lnTo>
                  <a:pt x="2428" y="952"/>
                </a:lnTo>
                <a:lnTo>
                  <a:pt x="2445" y="949"/>
                </a:lnTo>
                <a:lnTo>
                  <a:pt x="2458" y="940"/>
                </a:lnTo>
                <a:lnTo>
                  <a:pt x="2468" y="926"/>
                </a:lnTo>
                <a:lnTo>
                  <a:pt x="2471" y="909"/>
                </a:lnTo>
                <a:lnTo>
                  <a:pt x="2471" y="587"/>
                </a:lnTo>
                <a:lnTo>
                  <a:pt x="2468" y="571"/>
                </a:lnTo>
                <a:lnTo>
                  <a:pt x="2458" y="557"/>
                </a:lnTo>
                <a:lnTo>
                  <a:pt x="2445" y="548"/>
                </a:lnTo>
                <a:lnTo>
                  <a:pt x="2428" y="544"/>
                </a:lnTo>
                <a:lnTo>
                  <a:pt x="2107" y="544"/>
                </a:lnTo>
                <a:close/>
                <a:moveTo>
                  <a:pt x="1375" y="544"/>
                </a:moveTo>
                <a:lnTo>
                  <a:pt x="1358" y="548"/>
                </a:lnTo>
                <a:lnTo>
                  <a:pt x="1344" y="557"/>
                </a:lnTo>
                <a:lnTo>
                  <a:pt x="1335" y="571"/>
                </a:lnTo>
                <a:lnTo>
                  <a:pt x="1332" y="587"/>
                </a:lnTo>
                <a:lnTo>
                  <a:pt x="1332" y="909"/>
                </a:lnTo>
                <a:lnTo>
                  <a:pt x="1335" y="926"/>
                </a:lnTo>
                <a:lnTo>
                  <a:pt x="1344" y="940"/>
                </a:lnTo>
                <a:lnTo>
                  <a:pt x="1358" y="949"/>
                </a:lnTo>
                <a:lnTo>
                  <a:pt x="1375" y="952"/>
                </a:lnTo>
                <a:lnTo>
                  <a:pt x="1697" y="952"/>
                </a:lnTo>
                <a:lnTo>
                  <a:pt x="1713" y="949"/>
                </a:lnTo>
                <a:lnTo>
                  <a:pt x="1726" y="940"/>
                </a:lnTo>
                <a:lnTo>
                  <a:pt x="1736" y="926"/>
                </a:lnTo>
                <a:lnTo>
                  <a:pt x="1740" y="909"/>
                </a:lnTo>
                <a:lnTo>
                  <a:pt x="1740" y="587"/>
                </a:lnTo>
                <a:lnTo>
                  <a:pt x="1736" y="571"/>
                </a:lnTo>
                <a:lnTo>
                  <a:pt x="1726" y="557"/>
                </a:lnTo>
                <a:lnTo>
                  <a:pt x="1713" y="548"/>
                </a:lnTo>
                <a:lnTo>
                  <a:pt x="1697" y="544"/>
                </a:lnTo>
                <a:lnTo>
                  <a:pt x="1375" y="544"/>
                </a:lnTo>
                <a:close/>
                <a:moveTo>
                  <a:pt x="1032" y="0"/>
                </a:moveTo>
                <a:lnTo>
                  <a:pt x="2770" y="0"/>
                </a:lnTo>
                <a:lnTo>
                  <a:pt x="2787" y="2"/>
                </a:lnTo>
                <a:lnTo>
                  <a:pt x="2801" y="10"/>
                </a:lnTo>
                <a:lnTo>
                  <a:pt x="2813" y="21"/>
                </a:lnTo>
                <a:lnTo>
                  <a:pt x="2820" y="36"/>
                </a:lnTo>
                <a:lnTo>
                  <a:pt x="2823" y="53"/>
                </a:lnTo>
                <a:lnTo>
                  <a:pt x="2823" y="149"/>
                </a:lnTo>
                <a:lnTo>
                  <a:pt x="2820" y="165"/>
                </a:lnTo>
                <a:lnTo>
                  <a:pt x="2813" y="180"/>
                </a:lnTo>
                <a:lnTo>
                  <a:pt x="2801" y="193"/>
                </a:lnTo>
                <a:lnTo>
                  <a:pt x="2787" y="200"/>
                </a:lnTo>
                <a:lnTo>
                  <a:pt x="2770" y="203"/>
                </a:lnTo>
                <a:lnTo>
                  <a:pt x="2764" y="203"/>
                </a:lnTo>
                <a:lnTo>
                  <a:pt x="2761" y="204"/>
                </a:lnTo>
                <a:lnTo>
                  <a:pt x="2757" y="204"/>
                </a:lnTo>
                <a:lnTo>
                  <a:pt x="2756" y="206"/>
                </a:lnTo>
                <a:lnTo>
                  <a:pt x="2755" y="208"/>
                </a:lnTo>
                <a:lnTo>
                  <a:pt x="2754" y="210"/>
                </a:lnTo>
                <a:lnTo>
                  <a:pt x="2754" y="211"/>
                </a:lnTo>
                <a:lnTo>
                  <a:pt x="2754" y="620"/>
                </a:lnTo>
                <a:lnTo>
                  <a:pt x="2754" y="621"/>
                </a:lnTo>
                <a:lnTo>
                  <a:pt x="2754" y="626"/>
                </a:lnTo>
                <a:lnTo>
                  <a:pt x="2756" y="632"/>
                </a:lnTo>
                <a:lnTo>
                  <a:pt x="2761" y="638"/>
                </a:lnTo>
                <a:lnTo>
                  <a:pt x="2768" y="643"/>
                </a:lnTo>
                <a:lnTo>
                  <a:pt x="2779" y="645"/>
                </a:lnTo>
                <a:lnTo>
                  <a:pt x="3528" y="645"/>
                </a:lnTo>
                <a:lnTo>
                  <a:pt x="3553" y="648"/>
                </a:lnTo>
                <a:lnTo>
                  <a:pt x="3575" y="659"/>
                </a:lnTo>
                <a:lnTo>
                  <a:pt x="3596" y="673"/>
                </a:lnTo>
                <a:lnTo>
                  <a:pt x="3611" y="693"/>
                </a:lnTo>
                <a:lnTo>
                  <a:pt x="3621" y="716"/>
                </a:lnTo>
                <a:lnTo>
                  <a:pt x="3624" y="742"/>
                </a:lnTo>
                <a:lnTo>
                  <a:pt x="3624" y="2859"/>
                </a:lnTo>
                <a:lnTo>
                  <a:pt x="3624" y="2860"/>
                </a:lnTo>
                <a:lnTo>
                  <a:pt x="3624" y="2865"/>
                </a:lnTo>
                <a:lnTo>
                  <a:pt x="3626" y="2871"/>
                </a:lnTo>
                <a:lnTo>
                  <a:pt x="3629" y="2878"/>
                </a:lnTo>
                <a:lnTo>
                  <a:pt x="3634" y="2883"/>
                </a:lnTo>
                <a:lnTo>
                  <a:pt x="3640" y="2888"/>
                </a:lnTo>
                <a:lnTo>
                  <a:pt x="3649" y="2889"/>
                </a:lnTo>
                <a:lnTo>
                  <a:pt x="3696" y="2889"/>
                </a:lnTo>
                <a:lnTo>
                  <a:pt x="3713" y="2892"/>
                </a:lnTo>
                <a:lnTo>
                  <a:pt x="3728" y="2899"/>
                </a:lnTo>
                <a:lnTo>
                  <a:pt x="3739" y="2912"/>
                </a:lnTo>
                <a:lnTo>
                  <a:pt x="3747" y="2926"/>
                </a:lnTo>
                <a:lnTo>
                  <a:pt x="3750" y="2943"/>
                </a:lnTo>
                <a:lnTo>
                  <a:pt x="3750" y="3055"/>
                </a:lnTo>
                <a:lnTo>
                  <a:pt x="3747" y="3072"/>
                </a:lnTo>
                <a:lnTo>
                  <a:pt x="3739" y="3087"/>
                </a:lnTo>
                <a:lnTo>
                  <a:pt x="3728" y="3098"/>
                </a:lnTo>
                <a:lnTo>
                  <a:pt x="3713" y="3106"/>
                </a:lnTo>
                <a:lnTo>
                  <a:pt x="3696" y="3108"/>
                </a:lnTo>
                <a:lnTo>
                  <a:pt x="54" y="3108"/>
                </a:lnTo>
                <a:lnTo>
                  <a:pt x="36" y="3106"/>
                </a:lnTo>
                <a:lnTo>
                  <a:pt x="22" y="3098"/>
                </a:lnTo>
                <a:lnTo>
                  <a:pt x="10" y="3087"/>
                </a:lnTo>
                <a:lnTo>
                  <a:pt x="2" y="3072"/>
                </a:lnTo>
                <a:lnTo>
                  <a:pt x="0" y="3055"/>
                </a:lnTo>
                <a:lnTo>
                  <a:pt x="0" y="2943"/>
                </a:lnTo>
                <a:lnTo>
                  <a:pt x="2" y="2926"/>
                </a:lnTo>
                <a:lnTo>
                  <a:pt x="10" y="2912"/>
                </a:lnTo>
                <a:lnTo>
                  <a:pt x="22" y="2899"/>
                </a:lnTo>
                <a:lnTo>
                  <a:pt x="36" y="2892"/>
                </a:lnTo>
                <a:lnTo>
                  <a:pt x="54" y="2889"/>
                </a:lnTo>
                <a:lnTo>
                  <a:pt x="91" y="2889"/>
                </a:lnTo>
                <a:lnTo>
                  <a:pt x="103" y="2889"/>
                </a:lnTo>
                <a:lnTo>
                  <a:pt x="112" y="2887"/>
                </a:lnTo>
                <a:lnTo>
                  <a:pt x="118" y="2882"/>
                </a:lnTo>
                <a:lnTo>
                  <a:pt x="122" y="2876"/>
                </a:lnTo>
                <a:lnTo>
                  <a:pt x="124" y="2866"/>
                </a:lnTo>
                <a:lnTo>
                  <a:pt x="124" y="742"/>
                </a:lnTo>
                <a:lnTo>
                  <a:pt x="128" y="716"/>
                </a:lnTo>
                <a:lnTo>
                  <a:pt x="137" y="693"/>
                </a:lnTo>
                <a:lnTo>
                  <a:pt x="152" y="673"/>
                </a:lnTo>
                <a:lnTo>
                  <a:pt x="172" y="659"/>
                </a:lnTo>
                <a:lnTo>
                  <a:pt x="195" y="648"/>
                </a:lnTo>
                <a:lnTo>
                  <a:pt x="220" y="645"/>
                </a:lnTo>
                <a:lnTo>
                  <a:pt x="1028" y="645"/>
                </a:lnTo>
                <a:lnTo>
                  <a:pt x="1037" y="643"/>
                </a:lnTo>
                <a:lnTo>
                  <a:pt x="1043" y="638"/>
                </a:lnTo>
                <a:lnTo>
                  <a:pt x="1046" y="631"/>
                </a:lnTo>
                <a:lnTo>
                  <a:pt x="1047" y="623"/>
                </a:lnTo>
                <a:lnTo>
                  <a:pt x="1048" y="616"/>
                </a:lnTo>
                <a:lnTo>
                  <a:pt x="1048" y="612"/>
                </a:lnTo>
                <a:lnTo>
                  <a:pt x="1048" y="610"/>
                </a:lnTo>
                <a:lnTo>
                  <a:pt x="1048" y="218"/>
                </a:lnTo>
                <a:lnTo>
                  <a:pt x="1048" y="217"/>
                </a:lnTo>
                <a:lnTo>
                  <a:pt x="1048" y="216"/>
                </a:lnTo>
                <a:lnTo>
                  <a:pt x="1048" y="213"/>
                </a:lnTo>
                <a:lnTo>
                  <a:pt x="1047" y="211"/>
                </a:lnTo>
                <a:lnTo>
                  <a:pt x="1046" y="209"/>
                </a:lnTo>
                <a:lnTo>
                  <a:pt x="1044" y="206"/>
                </a:lnTo>
                <a:lnTo>
                  <a:pt x="1041" y="204"/>
                </a:lnTo>
                <a:lnTo>
                  <a:pt x="1037" y="203"/>
                </a:lnTo>
                <a:lnTo>
                  <a:pt x="1032" y="203"/>
                </a:lnTo>
                <a:lnTo>
                  <a:pt x="1015" y="200"/>
                </a:lnTo>
                <a:lnTo>
                  <a:pt x="1002" y="193"/>
                </a:lnTo>
                <a:lnTo>
                  <a:pt x="989" y="180"/>
                </a:lnTo>
                <a:lnTo>
                  <a:pt x="982" y="165"/>
                </a:lnTo>
                <a:lnTo>
                  <a:pt x="979" y="149"/>
                </a:lnTo>
                <a:lnTo>
                  <a:pt x="979" y="53"/>
                </a:lnTo>
                <a:lnTo>
                  <a:pt x="982" y="36"/>
                </a:lnTo>
                <a:lnTo>
                  <a:pt x="989" y="21"/>
                </a:lnTo>
                <a:lnTo>
                  <a:pt x="1002" y="10"/>
                </a:lnTo>
                <a:lnTo>
                  <a:pt x="1015" y="2"/>
                </a:lnTo>
                <a:lnTo>
                  <a:pt x="1032" y="0"/>
                </a:lnTo>
                <a:close/>
              </a:path>
            </a:pathLst>
          </a:custGeom>
          <a:solidFill>
            <a:srgbClr val="02467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id="{72CEC8F4-B971-45D4-AB00-EE25D0EFF6D5}"/>
              </a:ext>
            </a:extLst>
          </p:cNvPr>
          <p:cNvSpPr/>
          <p:nvPr/>
        </p:nvSpPr>
        <p:spPr>
          <a:xfrm>
            <a:off x="6271863" y="2405820"/>
            <a:ext cx="113580" cy="112705"/>
          </a:xfrm>
          <a:prstGeom prst="ellipse">
            <a:avLst/>
          </a:prstGeom>
          <a:solidFill>
            <a:srgbClr val="02467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232" name="Connector: Elbow 231">
            <a:extLst>
              <a:ext uri="{FF2B5EF4-FFF2-40B4-BE49-F238E27FC236}">
                <a16:creationId xmlns:a16="http://schemas.microsoft.com/office/drawing/2014/main" id="{2B5CC73E-4499-4118-93AC-EEAB3EF73CB0}"/>
              </a:ext>
            </a:extLst>
          </p:cNvPr>
          <p:cNvCxnSpPr>
            <a:cxnSpLocks/>
            <a:stCxn id="230" idx="6"/>
            <a:endCxn id="229" idx="23"/>
          </p:cNvCxnSpPr>
          <p:nvPr/>
        </p:nvCxnSpPr>
        <p:spPr>
          <a:xfrm>
            <a:off x="6385443" y="2462173"/>
            <a:ext cx="694588" cy="245009"/>
          </a:xfrm>
          <a:prstGeom prst="bentConnector3">
            <a:avLst>
              <a:gd name="adj1" fmla="val 81171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Oval 234">
            <a:extLst>
              <a:ext uri="{FF2B5EF4-FFF2-40B4-BE49-F238E27FC236}">
                <a16:creationId xmlns:a16="http://schemas.microsoft.com/office/drawing/2014/main" id="{83541CAE-73E3-4EDF-81EB-97817B6BC19D}"/>
              </a:ext>
            </a:extLst>
          </p:cNvPr>
          <p:cNvSpPr/>
          <p:nvPr/>
        </p:nvSpPr>
        <p:spPr>
          <a:xfrm>
            <a:off x="6374829" y="2571377"/>
            <a:ext cx="113580" cy="112704"/>
          </a:xfrm>
          <a:prstGeom prst="ellipse">
            <a:avLst/>
          </a:prstGeom>
          <a:solidFill>
            <a:srgbClr val="F8992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EDFF4979-2E21-4C7A-B0D9-069EAD7642E1}"/>
              </a:ext>
            </a:extLst>
          </p:cNvPr>
          <p:cNvSpPr/>
          <p:nvPr/>
        </p:nvSpPr>
        <p:spPr>
          <a:xfrm>
            <a:off x="7252948" y="2838113"/>
            <a:ext cx="2423364" cy="2477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F498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RC</a:t>
            </a: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498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| 66 MWp</a:t>
            </a:r>
          </a:p>
        </p:txBody>
      </p:sp>
      <p:pic>
        <p:nvPicPr>
          <p:cNvPr id="237" name="Picture 236" descr="A picture containing light&#10;&#10;Description automatically generated">
            <a:extLst>
              <a:ext uri="{FF2B5EF4-FFF2-40B4-BE49-F238E27FC236}">
                <a16:creationId xmlns:a16="http://schemas.microsoft.com/office/drawing/2014/main" id="{4CE9C282-BF47-4B88-AA15-CEA15D338A7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730" y="2766105"/>
            <a:ext cx="378601" cy="375679"/>
          </a:xfrm>
          <a:prstGeom prst="rect">
            <a:avLst/>
          </a:prstGeom>
        </p:spPr>
      </p:pic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9A74D541-9418-4801-A7AA-C316690453B1}"/>
              </a:ext>
            </a:extLst>
          </p:cNvPr>
          <p:cNvCxnSpPr>
            <a:cxnSpLocks/>
            <a:stCxn id="235" idx="6"/>
            <a:endCxn id="237" idx="1"/>
          </p:cNvCxnSpPr>
          <p:nvPr/>
        </p:nvCxnSpPr>
        <p:spPr>
          <a:xfrm>
            <a:off x="6488409" y="2627729"/>
            <a:ext cx="402321" cy="326216"/>
          </a:xfrm>
          <a:prstGeom prst="bentConnector3">
            <a:avLst>
              <a:gd name="adj1" fmla="val 91127"/>
            </a:avLst>
          </a:prstGeom>
          <a:ln>
            <a:solidFill>
              <a:srgbClr val="F498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E5B559B6-CC34-469B-9298-91E446C9C8E3}"/>
              </a:ext>
            </a:extLst>
          </p:cNvPr>
          <p:cNvSpPr txBox="1">
            <a:spLocks/>
          </p:cNvSpPr>
          <p:nvPr/>
        </p:nvSpPr>
        <p:spPr>
          <a:xfrm>
            <a:off x="11438889" y="6481763"/>
            <a:ext cx="56630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94F85C-D2AB-4E68-914B-E193070B425E}" type="slidenum">
              <a:rPr kumimoji="0" lang="en-GB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57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65" imgH="565" progId="TCLayout.ActiveDocument.1">
                  <p:embed/>
                </p:oleObj>
              </mc:Choice>
              <mc:Fallback>
                <p:oleObj name="think-cell Slide" r:id="rId5" imgW="565" imgH="56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429B30-66D0-4A09-A207-05072A2BA391}"/>
              </a:ext>
            </a:extLst>
          </p:cNvPr>
          <p:cNvSpPr/>
          <p:nvPr/>
        </p:nvSpPr>
        <p:spPr>
          <a:xfrm>
            <a:off x="8403771" y="260103"/>
            <a:ext cx="3788229" cy="655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9D89E-AAAD-422F-841E-36F7C22E3348}"/>
              </a:ext>
            </a:extLst>
          </p:cNvPr>
          <p:cNvGrpSpPr/>
          <p:nvPr/>
        </p:nvGrpSpPr>
        <p:grpSpPr>
          <a:xfrm>
            <a:off x="489857" y="6321674"/>
            <a:ext cx="11232000" cy="36000"/>
            <a:chOff x="675616" y="6487884"/>
            <a:chExt cx="11088000" cy="3600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4F549FE-2087-4E79-905B-56013EE7CF2F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rect">
              <a:avLst/>
            </a:prstGeom>
            <a:solidFill>
              <a:srgbClr val="F99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lowchart: Data 38">
              <a:extLst>
                <a:ext uri="{FF2B5EF4-FFF2-40B4-BE49-F238E27FC236}">
                  <a16:creationId xmlns:a16="http://schemas.microsoft.com/office/drawing/2014/main" id="{976207C3-A9B6-4547-84FA-2B6A6CDD83B0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flowChartInputOutp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49F7AED6-0596-41F4-9FF2-127B81E4AB5B}"/>
              </a:ext>
            </a:extLst>
          </p:cNvPr>
          <p:cNvSpPr/>
          <p:nvPr/>
        </p:nvSpPr>
        <p:spPr>
          <a:xfrm>
            <a:off x="507857" y="1034143"/>
            <a:ext cx="11196000" cy="18000"/>
          </a:xfrm>
          <a:prstGeom prst="rect">
            <a:avLst/>
          </a:prstGeom>
          <a:solidFill>
            <a:srgbClr val="858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3CF05B7B-457E-4D49-8453-3D70A0A600D5}"/>
              </a:ext>
            </a:extLst>
          </p:cNvPr>
          <p:cNvSpPr txBox="1">
            <a:spLocks/>
          </p:cNvSpPr>
          <p:nvPr/>
        </p:nvSpPr>
        <p:spPr>
          <a:xfrm>
            <a:off x="9016862" y="6365190"/>
            <a:ext cx="2917472" cy="37348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339CB-FA7A-4C6F-81A5-92ACFE46A00A}" type="slidenum">
              <a:rPr kumimoji="0" lang="en-ZA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EFFBDCD4-C67C-4310-8746-0FB1B314BF80}"/>
              </a:ext>
            </a:extLst>
          </p:cNvPr>
          <p:cNvSpPr/>
          <p:nvPr/>
        </p:nvSpPr>
        <p:spPr>
          <a:xfrm rot="10800000" flipH="1">
            <a:off x="0" y="0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864D4107-DBCE-4BB4-A426-3ED65FAF1C2F}"/>
              </a:ext>
            </a:extLst>
          </p:cNvPr>
          <p:cNvSpPr/>
          <p:nvPr/>
        </p:nvSpPr>
        <p:spPr>
          <a:xfrm flipH="1">
            <a:off x="11691325" y="6373148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961EF4-6A98-4D44-BF0D-8896677E887B}"/>
              </a:ext>
            </a:extLst>
          </p:cNvPr>
          <p:cNvSpPr/>
          <p:nvPr/>
        </p:nvSpPr>
        <p:spPr>
          <a:xfrm>
            <a:off x="515938" y="1091203"/>
            <a:ext cx="1054370" cy="1957442"/>
          </a:xfrm>
          <a:prstGeom prst="rect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ject Overview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C0E95A82-9E0F-4724-95BB-6C9DE7128CE6}"/>
              </a:ext>
            </a:extLst>
          </p:cNvPr>
          <p:cNvSpPr/>
          <p:nvPr/>
        </p:nvSpPr>
        <p:spPr>
          <a:xfrm>
            <a:off x="514351" y="3090467"/>
            <a:ext cx="9258420" cy="288946"/>
          </a:xfrm>
          <a:prstGeom prst="rect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ject Highlight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1C8D9023-A99C-4E4F-964A-8205DEB85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233828"/>
              </p:ext>
            </p:extLst>
          </p:nvPr>
        </p:nvGraphicFramePr>
        <p:xfrm>
          <a:off x="1639440" y="1096243"/>
          <a:ext cx="8100000" cy="196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000">
                  <a:extLst>
                    <a:ext uri="{9D8B030D-6E8A-4147-A177-3AD203B41FA5}">
                      <a16:colId xmlns:a16="http://schemas.microsoft.com/office/drawing/2014/main" val="1683675675"/>
                    </a:ext>
                  </a:extLst>
                </a:gridCol>
                <a:gridCol w="6624000">
                  <a:extLst>
                    <a:ext uri="{9D8B030D-6E8A-4147-A177-3AD203B41FA5}">
                      <a16:colId xmlns:a16="http://schemas.microsoft.com/office/drawing/2014/main" val="145899074"/>
                    </a:ext>
                  </a:extLst>
                </a:gridCol>
              </a:tblGrid>
              <a:tr h="284488">
                <a:tc>
                  <a:txBody>
                    <a:bodyPr/>
                    <a:lstStyle/>
                    <a:p>
                      <a:r>
                        <a:rPr lang="en-ZA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Plant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450MW combined-cycle gas-fired power plant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346491"/>
                  </a:ext>
                </a:extLst>
              </a:tr>
              <a:tr h="284488">
                <a:tc>
                  <a:txBody>
                    <a:bodyPr/>
                    <a:lstStyle/>
                    <a:p>
                      <a:r>
                        <a:rPr lang="en-ZA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Location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Inhambane Province, Mozambique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249491"/>
                  </a:ext>
                </a:extLst>
              </a:tr>
              <a:tr h="28448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P</a:t>
                      </a:r>
                      <a:r>
                        <a:rPr lang="en-ZA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roject Sponsors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EDM, Globeleq, Sasol</a:t>
                      </a:r>
                      <a:endParaRPr lang="en-ZA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3761680"/>
                  </a:ext>
                </a:extLst>
              </a:tr>
              <a:tr h="284488">
                <a:tc>
                  <a:txBody>
                    <a:bodyPr/>
                    <a:lstStyle/>
                    <a:p>
                      <a:r>
                        <a:rPr lang="en-ZA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Financial Close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08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December </a:t>
                      </a:r>
                      <a:r>
                        <a:rPr lang="en-ZA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1; Notice to Proceed January 2022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63231"/>
                  </a:ext>
                </a:extLst>
              </a:tr>
              <a:tr h="284488">
                <a:tc>
                  <a:txBody>
                    <a:bodyPr/>
                    <a:lstStyle/>
                    <a:p>
                      <a:r>
                        <a:rPr lang="en-ZA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Construction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4 months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456767"/>
                  </a:ext>
                </a:extLst>
              </a:tr>
              <a:tr h="284488">
                <a:tc>
                  <a:txBody>
                    <a:bodyPr/>
                    <a:lstStyle/>
                    <a:p>
                      <a:r>
                        <a:rPr lang="en-ZA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COD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D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b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Q4 2024</a:t>
                      </a:r>
                    </a:p>
                  </a:txBody>
                  <a:tcPr marT="72000" marB="72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842467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15637FCE-24FB-46A8-8870-F1952B8FB40B}"/>
              </a:ext>
            </a:extLst>
          </p:cNvPr>
          <p:cNvSpPr/>
          <p:nvPr/>
        </p:nvSpPr>
        <p:spPr>
          <a:xfrm>
            <a:off x="507857" y="3331013"/>
            <a:ext cx="11183468" cy="30682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ngle phase </a:t>
            </a: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50MW plant with daily despatch flexibility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upported by detailed market assessment and offering a competitive tariff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ll-structured project financing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enefiting from </a:t>
            </a: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rld Bank (“WB”) partial risk guarantee (“PRG”) support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obust contractual risk allocation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including a tolling structure and tested government support package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ong equity alignment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with complementary players, led by power development specialist and including utility off-taker, transmission owner and energy planner as well as gas supplier to ensure value chain alignment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chors critical transmission infrastructure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which will connect Mozambique’s Southern and Central-Northern transmission systems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pports the </a:t>
            </a: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engthening of the Mozambican government’s balance sheet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as a commercially viable, positive return project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as supplier has a proven track record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f Mozambican and regional deliveries and upstream field management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ZA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tablishes a template project structure</a:t>
            </a: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or combined cycle power generation in Mozambique and for the region</a:t>
            </a:r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651E2F6-8E84-4540-9C8A-343EE45CD385}"/>
              </a:ext>
            </a:extLst>
          </p:cNvPr>
          <p:cNvGrpSpPr/>
          <p:nvPr/>
        </p:nvGrpSpPr>
        <p:grpSpPr>
          <a:xfrm>
            <a:off x="9875520" y="1070269"/>
            <a:ext cx="1684223" cy="2282608"/>
            <a:chOff x="6521329" y="3429000"/>
            <a:chExt cx="1882442" cy="299679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6112C38-012B-47C2-9386-228DF371047A}"/>
                </a:ext>
              </a:extLst>
            </p:cNvPr>
            <p:cNvSpPr/>
            <p:nvPr/>
          </p:nvSpPr>
          <p:spPr>
            <a:xfrm>
              <a:off x="6735784" y="5511394"/>
              <a:ext cx="914401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aputo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B84CC47-D1FA-4DFF-8FF1-326253D8B030}"/>
                </a:ext>
              </a:extLst>
            </p:cNvPr>
            <p:cNvGrpSpPr/>
            <p:nvPr/>
          </p:nvGrpSpPr>
          <p:grpSpPr>
            <a:xfrm>
              <a:off x="6521329" y="3429000"/>
              <a:ext cx="1882442" cy="2611576"/>
              <a:chOff x="6521329" y="3429000"/>
              <a:chExt cx="1882442" cy="2611576"/>
            </a:xfrm>
          </p:grpSpPr>
          <p:sp>
            <p:nvSpPr>
              <p:cNvPr id="23" name="Freeform 125">
                <a:extLst>
                  <a:ext uri="{FF2B5EF4-FFF2-40B4-BE49-F238E27FC236}">
                    <a16:creationId xmlns:a16="http://schemas.microsoft.com/office/drawing/2014/main" id="{FB0D0627-E7A1-43DF-8A57-CA0C151DB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1329" y="3429000"/>
                <a:ext cx="1882442" cy="2611576"/>
              </a:xfrm>
              <a:custGeom>
                <a:avLst/>
                <a:gdLst/>
                <a:ahLst/>
                <a:cxnLst>
                  <a:cxn ang="0">
                    <a:pos x="2487" y="553"/>
                  </a:cxn>
                  <a:cxn ang="0">
                    <a:pos x="2505" y="983"/>
                  </a:cxn>
                  <a:cxn ang="0">
                    <a:pos x="2533" y="1339"/>
                  </a:cxn>
                  <a:cxn ang="0">
                    <a:pos x="2258" y="1742"/>
                  </a:cxn>
                  <a:cxn ang="0">
                    <a:pos x="1810" y="1925"/>
                  </a:cxn>
                  <a:cxn ang="0">
                    <a:pos x="1490" y="2226"/>
                  </a:cxn>
                  <a:cxn ang="0">
                    <a:pos x="1161" y="2464"/>
                  </a:cxn>
                  <a:cxn ang="0">
                    <a:pos x="1115" y="2766"/>
                  </a:cxn>
                  <a:cxn ang="0">
                    <a:pos x="1198" y="3141"/>
                  </a:cxn>
                  <a:cxn ang="0">
                    <a:pos x="1106" y="3598"/>
                  </a:cxn>
                  <a:cxn ang="0">
                    <a:pos x="613" y="3826"/>
                  </a:cxn>
                  <a:cxn ang="0">
                    <a:pos x="503" y="4201"/>
                  </a:cxn>
                  <a:cxn ang="0">
                    <a:pos x="306" y="4164"/>
                  </a:cxn>
                  <a:cxn ang="0">
                    <a:pos x="320" y="3762"/>
                  </a:cxn>
                  <a:cxn ang="0">
                    <a:pos x="256" y="3415"/>
                  </a:cxn>
                  <a:cxn ang="0">
                    <a:pos x="475" y="2894"/>
                  </a:cxn>
                  <a:cxn ang="0">
                    <a:pos x="576" y="2610"/>
                  </a:cxn>
                  <a:cxn ang="0">
                    <a:pos x="603" y="2272"/>
                  </a:cxn>
                  <a:cxn ang="0">
                    <a:pos x="686" y="1861"/>
                  </a:cxn>
                  <a:cxn ang="0">
                    <a:pos x="448" y="1669"/>
                  </a:cxn>
                  <a:cxn ang="0">
                    <a:pos x="128" y="1531"/>
                  </a:cxn>
                  <a:cxn ang="0">
                    <a:pos x="140" y="1322"/>
                  </a:cxn>
                  <a:cxn ang="0">
                    <a:pos x="494" y="1151"/>
                  </a:cxn>
                  <a:cxn ang="0">
                    <a:pos x="786" y="1098"/>
                  </a:cxn>
                  <a:cxn ang="0">
                    <a:pos x="998" y="1224"/>
                  </a:cxn>
                  <a:cxn ang="0">
                    <a:pos x="1052" y="1481"/>
                  </a:cxn>
                  <a:cxn ang="0">
                    <a:pos x="1109" y="1751"/>
                  </a:cxn>
                  <a:cxn ang="0">
                    <a:pos x="1239" y="1658"/>
                  </a:cxn>
                  <a:cxn ang="0">
                    <a:pos x="1380" y="1502"/>
                  </a:cxn>
                  <a:cxn ang="0">
                    <a:pos x="1389" y="1284"/>
                  </a:cxn>
                  <a:cxn ang="0">
                    <a:pos x="1284" y="1184"/>
                  </a:cxn>
                  <a:cxn ang="0">
                    <a:pos x="1139" y="1182"/>
                  </a:cxn>
                  <a:cxn ang="0">
                    <a:pos x="1077" y="1004"/>
                  </a:cxn>
                  <a:cxn ang="0">
                    <a:pos x="1016" y="764"/>
                  </a:cxn>
                  <a:cxn ang="0">
                    <a:pos x="1061" y="522"/>
                  </a:cxn>
                  <a:cxn ang="0">
                    <a:pos x="1044" y="245"/>
                  </a:cxn>
                  <a:cxn ang="0">
                    <a:pos x="947" y="56"/>
                  </a:cxn>
                  <a:cxn ang="0">
                    <a:pos x="1133" y="114"/>
                  </a:cxn>
                  <a:cxn ang="0">
                    <a:pos x="1212" y="554"/>
                  </a:cxn>
                  <a:cxn ang="0">
                    <a:pos x="1464" y="491"/>
                  </a:cxn>
                  <a:cxn ang="0">
                    <a:pos x="1790" y="576"/>
                  </a:cxn>
                  <a:cxn ang="0">
                    <a:pos x="1962" y="443"/>
                  </a:cxn>
                  <a:cxn ang="0">
                    <a:pos x="2291" y="408"/>
                  </a:cxn>
                </a:cxnLst>
                <a:rect l="0" t="0" r="r" b="b"/>
                <a:pathLst>
                  <a:path w="2551" h="4201">
                    <a:moveTo>
                      <a:pt x="2531" y="278"/>
                    </a:moveTo>
                    <a:lnTo>
                      <a:pt x="2514" y="416"/>
                    </a:lnTo>
                    <a:lnTo>
                      <a:pt x="2487" y="553"/>
                    </a:lnTo>
                    <a:lnTo>
                      <a:pt x="2505" y="699"/>
                    </a:lnTo>
                    <a:lnTo>
                      <a:pt x="2551" y="837"/>
                    </a:lnTo>
                    <a:lnTo>
                      <a:pt x="2505" y="983"/>
                    </a:lnTo>
                    <a:lnTo>
                      <a:pt x="2523" y="1120"/>
                    </a:lnTo>
                    <a:lnTo>
                      <a:pt x="2551" y="1230"/>
                    </a:lnTo>
                    <a:lnTo>
                      <a:pt x="2533" y="1339"/>
                    </a:lnTo>
                    <a:lnTo>
                      <a:pt x="2450" y="1486"/>
                    </a:lnTo>
                    <a:lnTo>
                      <a:pt x="2368" y="1614"/>
                    </a:lnTo>
                    <a:lnTo>
                      <a:pt x="2258" y="1742"/>
                    </a:lnTo>
                    <a:lnTo>
                      <a:pt x="2121" y="1842"/>
                    </a:lnTo>
                    <a:lnTo>
                      <a:pt x="1947" y="1861"/>
                    </a:lnTo>
                    <a:lnTo>
                      <a:pt x="1810" y="1925"/>
                    </a:lnTo>
                    <a:lnTo>
                      <a:pt x="1646" y="2025"/>
                    </a:lnTo>
                    <a:lnTo>
                      <a:pt x="1573" y="2117"/>
                    </a:lnTo>
                    <a:lnTo>
                      <a:pt x="1490" y="2226"/>
                    </a:lnTo>
                    <a:lnTo>
                      <a:pt x="1390" y="2245"/>
                    </a:lnTo>
                    <a:lnTo>
                      <a:pt x="1298" y="2327"/>
                    </a:lnTo>
                    <a:lnTo>
                      <a:pt x="1161" y="2464"/>
                    </a:lnTo>
                    <a:lnTo>
                      <a:pt x="1006" y="2583"/>
                    </a:lnTo>
                    <a:lnTo>
                      <a:pt x="1042" y="2674"/>
                    </a:lnTo>
                    <a:lnTo>
                      <a:pt x="1115" y="2766"/>
                    </a:lnTo>
                    <a:lnTo>
                      <a:pt x="1079" y="2875"/>
                    </a:lnTo>
                    <a:lnTo>
                      <a:pt x="1134" y="3003"/>
                    </a:lnTo>
                    <a:lnTo>
                      <a:pt x="1198" y="3141"/>
                    </a:lnTo>
                    <a:lnTo>
                      <a:pt x="1161" y="3232"/>
                    </a:lnTo>
                    <a:lnTo>
                      <a:pt x="1143" y="3387"/>
                    </a:lnTo>
                    <a:lnTo>
                      <a:pt x="1106" y="3598"/>
                    </a:lnTo>
                    <a:lnTo>
                      <a:pt x="960" y="3671"/>
                    </a:lnTo>
                    <a:lnTo>
                      <a:pt x="795" y="3762"/>
                    </a:lnTo>
                    <a:lnTo>
                      <a:pt x="613" y="3826"/>
                    </a:lnTo>
                    <a:lnTo>
                      <a:pt x="475" y="3918"/>
                    </a:lnTo>
                    <a:lnTo>
                      <a:pt x="512" y="4073"/>
                    </a:lnTo>
                    <a:lnTo>
                      <a:pt x="503" y="4201"/>
                    </a:lnTo>
                    <a:lnTo>
                      <a:pt x="408" y="4182"/>
                    </a:lnTo>
                    <a:lnTo>
                      <a:pt x="358" y="4196"/>
                    </a:lnTo>
                    <a:lnTo>
                      <a:pt x="306" y="4164"/>
                    </a:lnTo>
                    <a:lnTo>
                      <a:pt x="326" y="4026"/>
                    </a:lnTo>
                    <a:lnTo>
                      <a:pt x="320" y="3927"/>
                    </a:lnTo>
                    <a:lnTo>
                      <a:pt x="320" y="3762"/>
                    </a:lnTo>
                    <a:lnTo>
                      <a:pt x="357" y="3625"/>
                    </a:lnTo>
                    <a:lnTo>
                      <a:pt x="329" y="3515"/>
                    </a:lnTo>
                    <a:lnTo>
                      <a:pt x="256" y="3415"/>
                    </a:lnTo>
                    <a:lnTo>
                      <a:pt x="229" y="3259"/>
                    </a:lnTo>
                    <a:lnTo>
                      <a:pt x="256" y="3104"/>
                    </a:lnTo>
                    <a:lnTo>
                      <a:pt x="475" y="2894"/>
                    </a:lnTo>
                    <a:lnTo>
                      <a:pt x="494" y="2784"/>
                    </a:lnTo>
                    <a:lnTo>
                      <a:pt x="485" y="2702"/>
                    </a:lnTo>
                    <a:lnTo>
                      <a:pt x="576" y="2610"/>
                    </a:lnTo>
                    <a:lnTo>
                      <a:pt x="658" y="2537"/>
                    </a:lnTo>
                    <a:lnTo>
                      <a:pt x="603" y="2427"/>
                    </a:lnTo>
                    <a:lnTo>
                      <a:pt x="603" y="2272"/>
                    </a:lnTo>
                    <a:lnTo>
                      <a:pt x="667" y="2162"/>
                    </a:lnTo>
                    <a:lnTo>
                      <a:pt x="667" y="2034"/>
                    </a:lnTo>
                    <a:lnTo>
                      <a:pt x="686" y="1861"/>
                    </a:lnTo>
                    <a:lnTo>
                      <a:pt x="658" y="1733"/>
                    </a:lnTo>
                    <a:lnTo>
                      <a:pt x="539" y="1705"/>
                    </a:lnTo>
                    <a:lnTo>
                      <a:pt x="448" y="1669"/>
                    </a:lnTo>
                    <a:lnTo>
                      <a:pt x="309" y="1563"/>
                    </a:lnTo>
                    <a:lnTo>
                      <a:pt x="238" y="1541"/>
                    </a:lnTo>
                    <a:lnTo>
                      <a:pt x="128" y="1531"/>
                    </a:lnTo>
                    <a:lnTo>
                      <a:pt x="55" y="1477"/>
                    </a:lnTo>
                    <a:lnTo>
                      <a:pt x="0" y="1364"/>
                    </a:lnTo>
                    <a:lnTo>
                      <a:pt x="140" y="1322"/>
                    </a:lnTo>
                    <a:lnTo>
                      <a:pt x="278" y="1278"/>
                    </a:lnTo>
                    <a:lnTo>
                      <a:pt x="414" y="1202"/>
                    </a:lnTo>
                    <a:lnTo>
                      <a:pt x="494" y="1151"/>
                    </a:lnTo>
                    <a:lnTo>
                      <a:pt x="578" y="1049"/>
                    </a:lnTo>
                    <a:lnTo>
                      <a:pt x="678" y="1026"/>
                    </a:lnTo>
                    <a:lnTo>
                      <a:pt x="786" y="1098"/>
                    </a:lnTo>
                    <a:lnTo>
                      <a:pt x="813" y="1190"/>
                    </a:lnTo>
                    <a:lnTo>
                      <a:pt x="875" y="1229"/>
                    </a:lnTo>
                    <a:lnTo>
                      <a:pt x="998" y="1224"/>
                    </a:lnTo>
                    <a:lnTo>
                      <a:pt x="1061" y="1223"/>
                    </a:lnTo>
                    <a:lnTo>
                      <a:pt x="1116" y="1320"/>
                    </a:lnTo>
                    <a:lnTo>
                      <a:pt x="1052" y="1481"/>
                    </a:lnTo>
                    <a:lnTo>
                      <a:pt x="1031" y="1572"/>
                    </a:lnTo>
                    <a:lnTo>
                      <a:pt x="1062" y="1673"/>
                    </a:lnTo>
                    <a:lnTo>
                      <a:pt x="1109" y="1751"/>
                    </a:lnTo>
                    <a:lnTo>
                      <a:pt x="1187" y="1812"/>
                    </a:lnTo>
                    <a:lnTo>
                      <a:pt x="1193" y="1703"/>
                    </a:lnTo>
                    <a:lnTo>
                      <a:pt x="1239" y="1658"/>
                    </a:lnTo>
                    <a:lnTo>
                      <a:pt x="1301" y="1623"/>
                    </a:lnTo>
                    <a:lnTo>
                      <a:pt x="1356" y="1604"/>
                    </a:lnTo>
                    <a:lnTo>
                      <a:pt x="1380" y="1502"/>
                    </a:lnTo>
                    <a:lnTo>
                      <a:pt x="1349" y="1404"/>
                    </a:lnTo>
                    <a:lnTo>
                      <a:pt x="1410" y="1337"/>
                    </a:lnTo>
                    <a:lnTo>
                      <a:pt x="1389" y="1284"/>
                    </a:lnTo>
                    <a:lnTo>
                      <a:pt x="1278" y="1095"/>
                    </a:lnTo>
                    <a:lnTo>
                      <a:pt x="1254" y="1146"/>
                    </a:lnTo>
                    <a:lnTo>
                      <a:pt x="1284" y="1184"/>
                    </a:lnTo>
                    <a:lnTo>
                      <a:pt x="1236" y="1193"/>
                    </a:lnTo>
                    <a:lnTo>
                      <a:pt x="1164" y="1140"/>
                    </a:lnTo>
                    <a:lnTo>
                      <a:pt x="1139" y="1182"/>
                    </a:lnTo>
                    <a:lnTo>
                      <a:pt x="1086" y="1140"/>
                    </a:lnTo>
                    <a:lnTo>
                      <a:pt x="1104" y="1062"/>
                    </a:lnTo>
                    <a:lnTo>
                      <a:pt x="1077" y="1004"/>
                    </a:lnTo>
                    <a:lnTo>
                      <a:pt x="1038" y="966"/>
                    </a:lnTo>
                    <a:lnTo>
                      <a:pt x="1034" y="891"/>
                    </a:lnTo>
                    <a:lnTo>
                      <a:pt x="1016" y="764"/>
                    </a:lnTo>
                    <a:lnTo>
                      <a:pt x="965" y="671"/>
                    </a:lnTo>
                    <a:lnTo>
                      <a:pt x="1001" y="593"/>
                    </a:lnTo>
                    <a:lnTo>
                      <a:pt x="1061" y="522"/>
                    </a:lnTo>
                    <a:lnTo>
                      <a:pt x="1038" y="441"/>
                    </a:lnTo>
                    <a:lnTo>
                      <a:pt x="1008" y="359"/>
                    </a:lnTo>
                    <a:lnTo>
                      <a:pt x="1044" y="245"/>
                    </a:lnTo>
                    <a:lnTo>
                      <a:pt x="999" y="192"/>
                    </a:lnTo>
                    <a:lnTo>
                      <a:pt x="966" y="129"/>
                    </a:lnTo>
                    <a:lnTo>
                      <a:pt x="947" y="56"/>
                    </a:lnTo>
                    <a:lnTo>
                      <a:pt x="1007" y="0"/>
                    </a:lnTo>
                    <a:lnTo>
                      <a:pt x="1089" y="65"/>
                    </a:lnTo>
                    <a:lnTo>
                      <a:pt x="1133" y="114"/>
                    </a:lnTo>
                    <a:lnTo>
                      <a:pt x="1151" y="401"/>
                    </a:lnTo>
                    <a:lnTo>
                      <a:pt x="1217" y="491"/>
                    </a:lnTo>
                    <a:lnTo>
                      <a:pt x="1212" y="554"/>
                    </a:lnTo>
                    <a:lnTo>
                      <a:pt x="1307" y="527"/>
                    </a:lnTo>
                    <a:lnTo>
                      <a:pt x="1379" y="504"/>
                    </a:lnTo>
                    <a:lnTo>
                      <a:pt x="1464" y="491"/>
                    </a:lnTo>
                    <a:lnTo>
                      <a:pt x="1524" y="570"/>
                    </a:lnTo>
                    <a:lnTo>
                      <a:pt x="1673" y="564"/>
                    </a:lnTo>
                    <a:lnTo>
                      <a:pt x="1790" y="576"/>
                    </a:lnTo>
                    <a:lnTo>
                      <a:pt x="1868" y="540"/>
                    </a:lnTo>
                    <a:lnTo>
                      <a:pt x="1889" y="479"/>
                    </a:lnTo>
                    <a:lnTo>
                      <a:pt x="1962" y="443"/>
                    </a:lnTo>
                    <a:lnTo>
                      <a:pt x="2040" y="491"/>
                    </a:lnTo>
                    <a:lnTo>
                      <a:pt x="2153" y="431"/>
                    </a:lnTo>
                    <a:lnTo>
                      <a:pt x="2291" y="408"/>
                    </a:lnTo>
                    <a:lnTo>
                      <a:pt x="2448" y="339"/>
                    </a:lnTo>
                    <a:lnTo>
                      <a:pt x="2531" y="278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F9C03E2-22AD-4A21-8330-8D574E72C6EE}"/>
                  </a:ext>
                </a:extLst>
              </p:cNvPr>
              <p:cNvSpPr/>
              <p:nvPr/>
            </p:nvSpPr>
            <p:spPr>
              <a:xfrm>
                <a:off x="7239688" y="5228813"/>
                <a:ext cx="59821" cy="59820"/>
              </a:xfrm>
              <a:prstGeom prst="ellipse">
                <a:avLst/>
              </a:prstGeom>
              <a:solidFill>
                <a:srgbClr val="0071B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38CD7609-DD59-43F5-8BE2-CFEE0CFCA7B0}"/>
                  </a:ext>
                </a:extLst>
              </p:cNvPr>
              <p:cNvSpPr/>
              <p:nvPr/>
            </p:nvSpPr>
            <p:spPr>
              <a:xfrm>
                <a:off x="6845867" y="5927047"/>
                <a:ext cx="59821" cy="59820"/>
              </a:xfrm>
              <a:prstGeom prst="ellipse">
                <a:avLst/>
              </a:prstGeom>
              <a:solidFill>
                <a:srgbClr val="0071BC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304DFB3-D26E-40B3-BDEC-7D01D210F3DD}"/>
                  </a:ext>
                </a:extLst>
              </p:cNvPr>
              <p:cNvSpPr/>
              <p:nvPr/>
            </p:nvSpPr>
            <p:spPr>
              <a:xfrm>
                <a:off x="7029672" y="478443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CTT</a:t>
                </a:r>
              </a:p>
            </p:txBody>
          </p:sp>
        </p:grp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D2CA7FD2-C655-4158-A799-61341FBC06D7}"/>
              </a:ext>
            </a:extLst>
          </p:cNvPr>
          <p:cNvSpPr/>
          <p:nvPr/>
        </p:nvSpPr>
        <p:spPr>
          <a:xfrm>
            <a:off x="9875520" y="1034099"/>
            <a:ext cx="1828337" cy="2381614"/>
          </a:xfrm>
          <a:prstGeom prst="rect">
            <a:avLst/>
          </a:prstGeom>
          <a:noFill/>
          <a:ln>
            <a:solidFill>
              <a:srgbClr val="E7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C16428CB-259A-4739-932D-102E0BF99D2B}"/>
              </a:ext>
            </a:extLst>
          </p:cNvPr>
          <p:cNvSpPr txBox="1">
            <a:spLocks/>
          </p:cNvSpPr>
          <p:nvPr/>
        </p:nvSpPr>
        <p:spPr>
          <a:xfrm>
            <a:off x="0" y="-351384"/>
            <a:ext cx="12207263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endParaRPr lang="en-ZA" sz="1400" i="1">
              <a:solidFill>
                <a:srgbClr val="FF76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22638C1-6517-424B-ADE3-CCA687A70818}"/>
              </a:ext>
            </a:extLst>
          </p:cNvPr>
          <p:cNvSpPr txBox="1">
            <a:spLocks/>
          </p:cNvSpPr>
          <p:nvPr/>
        </p:nvSpPr>
        <p:spPr>
          <a:xfrm>
            <a:off x="489857" y="119326"/>
            <a:ext cx="11690592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b="1" dirty="0">
                <a:solidFill>
                  <a:srgbClr val="F7930D"/>
                </a:solidFill>
                <a:latin typeface="Century Gothic" panose="020B0502020202020204" pitchFamily="34" charset="0"/>
              </a:rPr>
              <a:t>III. Project Overview</a:t>
            </a:r>
            <a:endParaRPr kumimoji="0" lang="en-ZA" sz="3200" b="1" i="0" u="none" strike="noStrike" kern="1200" cap="none" spc="0" normalizeH="0" baseline="0" noProof="0" dirty="0">
              <a:ln>
                <a:noFill/>
              </a:ln>
              <a:solidFill>
                <a:srgbClr val="F7930D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31" name="Picture 30" descr="Logo, company name&#10;&#10;Description automatically generated">
            <a:extLst>
              <a:ext uri="{FF2B5EF4-FFF2-40B4-BE49-F238E27FC236}">
                <a16:creationId xmlns:a16="http://schemas.microsoft.com/office/drawing/2014/main" id="{6F6C41E7-CAE4-4B87-AEF8-7A14B4846A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857" y="6314604"/>
            <a:ext cx="750022" cy="53044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47963FFA-32D6-42CE-AFAA-07E931D20E5A}"/>
              </a:ext>
            </a:extLst>
          </p:cNvPr>
          <p:cNvSpPr txBox="1"/>
          <p:nvPr/>
        </p:nvSpPr>
        <p:spPr>
          <a:xfrm>
            <a:off x="1140542" y="6558487"/>
            <a:ext cx="3180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lvl="0">
              <a:defRPr lang="en-US"/>
            </a:defPPr>
            <a:lvl1pPr>
              <a:defRPr b="1"/>
            </a:lvl1pPr>
          </a:lstStyle>
          <a:p>
            <a:r>
              <a:rPr lang="en-US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1918987207"/>
      </p:ext>
    </p:extLst>
  </p:cSld>
  <p:clrMapOvr>
    <a:masterClrMapping/>
  </p:clrMapOvr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9" name="Object 8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565" imgW="565" name="think-cell Slide" progId="TCLayout.ActiveDocument.1" r:id="rId5">
                  <p:embed/>
                </p:oleObj>
              </mc:Choice>
              <mc:Fallback>
                <p:oleObj imgH="565" imgW="565" name="think-cell Slide" progId="TCLayout.ActiveDocument.1" r:id="rId5">
                  <p:embed/>
                  <p:pic>
                    <p:nvPicPr>
                      <p:cNvPr hidden="1" id="9" name="Object 8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hidden="1" id="8" name="Rectangle 7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vert="horz" wrap="none">
            <a:noAutofit/>
          </a:bodyPr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en-ZA" noProof="0" normalizeH="0" spc="0" strike="noStrike" sz="10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charset="0" panose="020B0604020202020204" pitchFamily="34" typeface="Arial"/>
              <a:sym charset="0" panose="020B0502020202020204" pitchFamily="34" typeface="Century Gothic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429B30-66D0-4A09-A207-05072A2BA391}"/>
              </a:ext>
            </a:extLst>
          </p:cNvPr>
          <p:cNvSpPr/>
          <p:nvPr/>
        </p:nvSpPr>
        <p:spPr>
          <a:xfrm>
            <a:off x="8403771" y="260103"/>
            <a:ext cx="3788229" cy="655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dirty="0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panose="020F0502020204030204" typeface="Calibri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9D89E-AAAD-422F-841E-36F7C22E3348}"/>
              </a:ext>
            </a:extLst>
          </p:cNvPr>
          <p:cNvGrpSpPr/>
          <p:nvPr/>
        </p:nvGrpSpPr>
        <p:grpSpPr>
          <a:xfrm>
            <a:off x="489857" y="6321674"/>
            <a:ext cx="11232000" cy="36000"/>
            <a:chOff x="675616" y="6487884"/>
            <a:chExt cx="11088000" cy="3600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4F549FE-2087-4E79-905B-56013EE7CF2F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rect">
              <a:avLst/>
            </a:prstGeom>
            <a:solidFill>
              <a:srgbClr val="F99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b="0" baseline="0" cap="none" dirty="0" i="0" kern="1200" kumimoji="0" lang="en-ZA" noProof="0" normalizeH="0" spc="0" strike="noStrike" sz="18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panose="020F0502020204030204" typeface="Calibri"/>
                <a:ea typeface="+mn-ea"/>
                <a:cs typeface="+mn-cs"/>
              </a:endParaRPr>
            </a:p>
          </p:txBody>
        </p:sp>
        <p:sp>
          <p:nvSpPr>
            <p:cNvPr id="39" name="Flowchart: Data 38">
              <a:extLst>
                <a:ext uri="{FF2B5EF4-FFF2-40B4-BE49-F238E27FC236}">
                  <a16:creationId xmlns:a16="http://schemas.microsoft.com/office/drawing/2014/main" id="{976207C3-A9B6-4547-84FA-2B6A6CDD83B0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flowChartInputOutp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b="0" baseline="0" cap="none" dirty="0" i="0" kern="1200" kumimoji="0" lang="en-ZA" noProof="0" normalizeH="0" spc="0" strike="noStrike" sz="18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panose="020F0502020204030204" typeface="Calibri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49F7AED6-0596-41F4-9FF2-127B81E4AB5B}"/>
              </a:ext>
            </a:extLst>
          </p:cNvPr>
          <p:cNvSpPr/>
          <p:nvPr/>
        </p:nvSpPr>
        <p:spPr>
          <a:xfrm>
            <a:off x="507857" y="1034143"/>
            <a:ext cx="11196000" cy="18000"/>
          </a:xfrm>
          <a:prstGeom prst="rect">
            <a:avLst/>
          </a:prstGeom>
          <a:solidFill>
            <a:srgbClr val="858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dirty="0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panose="020F0502020204030204" typeface="Calibri"/>
              <a:ea typeface="+mn-ea"/>
              <a:cs typeface="+mn-cs"/>
            </a:endParaRP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3CF05B7B-457E-4D49-8453-3D70A0A600D5}"/>
              </a:ext>
            </a:extLst>
          </p:cNvPr>
          <p:cNvSpPr txBox="1">
            <a:spLocks/>
          </p:cNvSpPr>
          <p:nvPr/>
        </p:nvSpPr>
        <p:spPr>
          <a:xfrm>
            <a:off x="9016862" y="6365191"/>
            <a:ext cx="2743200" cy="2916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4400" eaLnBrk="1" hangingPunct="1" latinLnBrk="0" marL="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latinLnBrk="0" marL="457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latinLnBrk="0" marL="914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latinLnBrk="0" marL="1371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latinLnBrk="0" marL="18288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339CB-FA7A-4C6F-81A5-92ACFE46A00A}" type="slidenum">
              <a:rPr b="1" baseline="0" cap="none" i="0" kern="1200" kumimoji="0" lang="en-ZA" noProof="0" normalizeH="0" smtClean="0" spc="0" strike="noStrike" sz="1000" u="none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charset="0" panose="020B0502020202020204" pitchFamily="34" typeface="Century Gothic"/>
                <a:ea charset="0" panose="020B0604030504040204" pitchFamily="34" typeface="Verdana"/>
                <a:cs charset="0" panose="020B0604020202020204" pitchFamily="34" typeface="Arial"/>
              </a:rPr>
              <a:pPr algn="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b="1" baseline="0" cap="none" dirty="0" i="0" kern="1200" kumimoji="0" lang="en-ZA" noProof="0" normalizeH="0" spc="0" strike="noStrike" sz="1000" u="none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charset="0" panose="020B0502020202020204" pitchFamily="34" typeface="Century Gothic"/>
              <a:ea charset="0" panose="020B0604030504040204" pitchFamily="34" typeface="Verdana"/>
              <a:cs charset="0" panose="020B0604020202020204" pitchFamily="34" typeface="Arial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EFFBDCD4-C67C-4310-8746-0FB1B314BF80}"/>
              </a:ext>
            </a:extLst>
          </p:cNvPr>
          <p:cNvSpPr/>
          <p:nvPr/>
        </p:nvSpPr>
        <p:spPr>
          <a:xfrm flipH="1" rot="10800000">
            <a:off x="0" y="0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dirty="0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panose="020F0502020204030204" typeface="Calibri"/>
              <a:ea typeface="+mn-ea"/>
              <a:cs typeface="+mn-cs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864D4107-DBCE-4BB4-A426-3ED65FAF1C2F}"/>
              </a:ext>
            </a:extLst>
          </p:cNvPr>
          <p:cNvSpPr/>
          <p:nvPr/>
        </p:nvSpPr>
        <p:spPr>
          <a:xfrm flipH="1">
            <a:off x="11691325" y="6373148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dirty="0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panose="020F0502020204030204" typeface="Calibri"/>
              <a:ea typeface="+mn-ea"/>
              <a:cs typeface="+mn-cs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C16428CB-259A-4739-932D-102E0BF99D2B}"/>
              </a:ext>
            </a:extLst>
          </p:cNvPr>
          <p:cNvSpPr txBox="1">
            <a:spLocks/>
          </p:cNvSpPr>
          <p:nvPr/>
        </p:nvSpPr>
        <p:spPr>
          <a:xfrm>
            <a:off x="0" y="-351384"/>
            <a:ext cx="12207263" cy="762000"/>
          </a:xfrm>
          <a:prstGeom prst="rect">
            <a:avLst/>
          </a:prstGeom>
        </p:spPr>
        <p:txBody>
          <a:bodyPr anchor="ctr" bIns="45720" lIns="91440" rIns="91440" rtlCol="0" tIns="45720" vert="horz">
            <a:normAutofit/>
          </a:bodyPr>
          <a:lstStyle>
            <a:lvl1pPr algn="l" defTabSz="9144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baseline="0" kern="1200" sz="2200">
                <a:solidFill>
                  <a:schemeClr val="tx1"/>
                </a:solidFill>
                <a:latin charset="0" panose="02040502050505030304" pitchFamily="18" typeface="Palatino Linotype"/>
                <a:ea typeface="+mj-ea"/>
                <a:cs typeface="+mj-cs"/>
              </a:defRPr>
            </a:lvl1pPr>
          </a:lstStyle>
          <a:p>
            <a:pPr lvl="0">
              <a:defRPr/>
            </a:pPr>
            <a:endParaRPr i="1" lang="en-ZA" sz="1400">
              <a:solidFill>
                <a:srgbClr val="FF7600"/>
              </a:solidFill>
              <a:latin charset="0" panose="020B0502020202020204" pitchFamily="34" typeface="Century Gothic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22638C1-6517-424B-ADE3-CCA687A70818}"/>
              </a:ext>
            </a:extLst>
          </p:cNvPr>
          <p:cNvSpPr txBox="1">
            <a:spLocks/>
          </p:cNvSpPr>
          <p:nvPr/>
        </p:nvSpPr>
        <p:spPr>
          <a:xfrm>
            <a:off x="489857" y="119326"/>
            <a:ext cx="11690592" cy="762000"/>
          </a:xfrm>
          <a:prstGeom prst="rect">
            <a:avLst/>
          </a:prstGeom>
        </p:spPr>
        <p:txBody>
          <a:bodyPr anchor="ctr" bIns="45720" lIns="91440" rIns="91440" rtlCol="0" tIns="45720" vert="horz">
            <a:normAutofit/>
          </a:bodyPr>
          <a:lstStyle>
            <a:lvl1pPr algn="l" defTabSz="9144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baseline="0" kern="1200" sz="2200">
                <a:solidFill>
                  <a:schemeClr val="tx1"/>
                </a:solidFill>
                <a:latin charset="0" panose="02040502050505030304" pitchFamily="18" typeface="Palatino Linotype"/>
                <a:ea typeface="+mj-ea"/>
                <a:cs typeface="+mj-cs"/>
              </a:defRPr>
            </a:lvl1pPr>
          </a:lstStyle>
          <a:p>
            <a:pPr defTabSz="914400" eaLnBrk="1" fontAlgn="auto" hangingPunct="1" indent="0" latinLnBrk="0" lvl="0" marL="0" marR="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dirty="0" lang="en-ZA" sz="3200">
                <a:solidFill>
                  <a:srgbClr val="F7930D"/>
                </a:solidFill>
                <a:latin charset="0" panose="020B0502020202020204" pitchFamily="34" typeface="Century Gothic"/>
              </a:rPr>
              <a:t>IV. Key Project Stakeholders</a:t>
            </a:r>
            <a:endParaRPr b="1" baseline="0" cap="none" dirty="0" i="0" kern="1200" kumimoji="0" lang="en-ZA" noProof="0" normalizeH="0" spc="0" strike="noStrike" sz="3200" u="none">
              <a:ln>
                <a:noFill/>
              </a:ln>
              <a:solidFill>
                <a:srgbClr val="F7930D"/>
              </a:solidFill>
              <a:effectLst/>
              <a:uLnTx/>
              <a:uFillTx/>
              <a:latin charset="0" panose="020B0502020202020204" pitchFamily="34" typeface="Century Gothic"/>
            </a:endParaRPr>
          </a:p>
        </p:txBody>
      </p:sp>
      <p:pic>
        <p:nvPicPr>
          <p:cNvPr descr="Text&#10;&#10;Description automatically generated" id="7" name="Picture 6">
            <a:extLst>
              <a:ext uri="{FF2B5EF4-FFF2-40B4-BE49-F238E27FC236}">
                <a16:creationId xmlns:a16="http://schemas.microsoft.com/office/drawing/2014/main" id="{BB1DA3DB-E1C7-44E3-A1DA-DA4DE0F7CB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5472" y="2838278"/>
            <a:ext cx="2206681" cy="467621"/>
          </a:xfrm>
          <a:prstGeom prst="rect">
            <a:avLst/>
          </a:prstGeom>
        </p:spPr>
      </p:pic>
      <p:pic>
        <p:nvPicPr>
          <p:cNvPr descr="Image result for opec fund" id="2050" name="Picture 2">
            <a:extLst>
              <a:ext uri="{FF2B5EF4-FFF2-40B4-BE49-F238E27FC236}">
                <a16:creationId xmlns:a16="http://schemas.microsoft.com/office/drawing/2014/main" id="{C266EEC6-02FD-4CD6-AD41-E1C38128947C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56" r="172"/>
          <a:stretch/>
        </p:blipFill>
        <p:spPr bwMode="auto">
          <a:xfrm>
            <a:off x="5224669" y="3547183"/>
            <a:ext cx="1166147" cy="94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Image result for world bank miga" id="2052" name="Picture 4">
            <a:extLst>
              <a:ext uri="{FF2B5EF4-FFF2-40B4-BE49-F238E27FC236}">
                <a16:creationId xmlns:a16="http://schemas.microsoft.com/office/drawing/2014/main" id="{498CEF62-EF04-4612-B816-39AB35169D3B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47" r="-141"/>
          <a:stretch/>
        </p:blipFill>
        <p:spPr bwMode="auto">
          <a:xfrm>
            <a:off x="8138469" y="2422703"/>
            <a:ext cx="2833756" cy="625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0517B8-FB78-4684-945E-60A3A7636E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40757" y="5191605"/>
            <a:ext cx="1280450" cy="487655"/>
          </a:xfrm>
          <a:prstGeom prst="rect">
            <a:avLst/>
          </a:prstGeom>
        </p:spPr>
      </p:pic>
      <p:pic>
        <p:nvPicPr>
          <p:cNvPr descr="Text&#10;&#10;Description automatically generated" id="4" name="Picture 3">
            <a:extLst>
              <a:ext uri="{FF2B5EF4-FFF2-40B4-BE49-F238E27FC236}">
                <a16:creationId xmlns:a16="http://schemas.microsoft.com/office/drawing/2014/main" id="{6A99D53B-CB3A-41D5-8490-34BF931C545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90287" y="1997061"/>
            <a:ext cx="2454384" cy="623221"/>
          </a:xfrm>
          <a:prstGeom prst="rect">
            <a:avLst/>
          </a:prstGeom>
        </p:spPr>
      </p:pic>
      <p:sp>
        <p:nvSpPr>
          <p:cNvPr id="2" name="Rectangle: Diagonal Corners Rounded 1">
            <a:extLst>
              <a:ext uri="{FF2B5EF4-FFF2-40B4-BE49-F238E27FC236}">
                <a16:creationId xmlns:a16="http://schemas.microsoft.com/office/drawing/2014/main" id="{12F2849B-1E38-D5C0-9A61-CD9FAD1CC23F}"/>
              </a:ext>
            </a:extLst>
          </p:cNvPr>
          <p:cNvSpPr/>
          <p:nvPr/>
        </p:nvSpPr>
        <p:spPr>
          <a:xfrm>
            <a:off x="646771" y="1204332"/>
            <a:ext cx="3088888" cy="4746148"/>
          </a:xfrm>
          <a:prstGeom prst="round2Diag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/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E1780BA9-7E7B-56B8-6AFC-83BEAACE627C}"/>
              </a:ext>
            </a:extLst>
          </p:cNvPr>
          <p:cNvSpPr/>
          <p:nvPr/>
        </p:nvSpPr>
        <p:spPr>
          <a:xfrm>
            <a:off x="4304369" y="1171160"/>
            <a:ext cx="3088888" cy="4746148"/>
          </a:xfrm>
          <a:prstGeom prst="round2Diag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/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0075186E-3B34-1F46-3512-3C117E142048}"/>
              </a:ext>
            </a:extLst>
          </p:cNvPr>
          <p:cNvSpPr/>
          <p:nvPr/>
        </p:nvSpPr>
        <p:spPr>
          <a:xfrm>
            <a:off x="7950820" y="1143017"/>
            <a:ext cx="3088888" cy="4746148"/>
          </a:xfrm>
          <a:prstGeom prst="round2Diag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/>
          </a:p>
        </p:txBody>
      </p:sp>
      <p:pic>
        <p:nvPicPr>
          <p:cNvPr descr="Chart, bubble chart&#10;&#10;Description automatically generated" id="16" name="Picture 15">
            <a:extLst>
              <a:ext uri="{FF2B5EF4-FFF2-40B4-BE49-F238E27FC236}">
                <a16:creationId xmlns:a16="http://schemas.microsoft.com/office/drawing/2014/main" id="{9DDF56A3-A419-5241-BA7D-9F5914E9F5C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40"/>
          <a:stretch/>
        </p:blipFill>
        <p:spPr>
          <a:xfrm rot="16200000">
            <a:off x="1551840" y="4587889"/>
            <a:ext cx="1120880" cy="1351052"/>
          </a:xfrm>
          <a:prstGeom prst="rect">
            <a:avLst/>
          </a:prstGeom>
        </p:spPr>
      </p:pic>
      <p:pic>
        <p:nvPicPr>
          <p:cNvPr descr="Logo, company name&#10;&#10;Description automatically generated" id="18" name="Picture 17">
            <a:extLst>
              <a:ext uri="{FF2B5EF4-FFF2-40B4-BE49-F238E27FC236}">
                <a16:creationId xmlns:a16="http://schemas.microsoft.com/office/drawing/2014/main" id="{F28DE3BA-4F31-6D27-B3F0-7CE6569B900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88356" y="3047848"/>
            <a:ext cx="1817390" cy="1469530"/>
          </a:xfrm>
          <a:prstGeom prst="rect">
            <a:avLst/>
          </a:prstGeom>
        </p:spPr>
      </p:pic>
      <p:pic>
        <p:nvPicPr>
          <p:cNvPr descr="Text&#10;&#10;Description automatically generated with medium confidence" id="20" name="Picture 19">
            <a:extLst>
              <a:ext uri="{FF2B5EF4-FFF2-40B4-BE49-F238E27FC236}">
                <a16:creationId xmlns:a16="http://schemas.microsoft.com/office/drawing/2014/main" id="{2EFD33B7-A0AE-59FD-7174-C204A95081B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5190" y="2229706"/>
            <a:ext cx="2732847" cy="63254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61C54FF-83A1-68D5-98D7-8EC88E32DE96}"/>
              </a:ext>
            </a:extLst>
          </p:cNvPr>
          <p:cNvSpPr txBox="1"/>
          <p:nvPr/>
        </p:nvSpPr>
        <p:spPr>
          <a:xfrm flipH="1">
            <a:off x="646769" y="1537368"/>
            <a:ext cx="3088889" cy="400110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/>
            <a:r>
              <a:rPr b="1" dirty="0" lang="en-US" sz="2000">
                <a:latin charset="0" panose="020B0502020202020204" pitchFamily="34" typeface="Century Gothic"/>
              </a:rPr>
              <a:t>SPONSO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8BF2019-9A3C-BB01-9BB4-7BE9F02679F8}"/>
              </a:ext>
            </a:extLst>
          </p:cNvPr>
          <p:cNvSpPr txBox="1"/>
          <p:nvPr/>
        </p:nvSpPr>
        <p:spPr>
          <a:xfrm flipH="1">
            <a:off x="4293221" y="1537368"/>
            <a:ext cx="3088889" cy="400110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/>
            <a:r>
              <a:rPr b="1" dirty="0" lang="en-US" sz="2000">
                <a:latin charset="0" panose="020B0502020202020204" pitchFamily="34" typeface="Century Gothic"/>
              </a:rPr>
              <a:t>DEBT LEND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616971-6EAA-A993-99F7-6E9C2218B767}"/>
              </a:ext>
            </a:extLst>
          </p:cNvPr>
          <p:cNvSpPr txBox="1"/>
          <p:nvPr/>
        </p:nvSpPr>
        <p:spPr>
          <a:xfrm flipH="1">
            <a:off x="7939672" y="1537368"/>
            <a:ext cx="3088889" cy="400110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/>
            <a:r>
              <a:rPr b="1" dirty="0" lang="en-US" sz="2000">
                <a:latin charset="0" panose="020B0502020202020204" pitchFamily="34" typeface="Century Gothic"/>
              </a:rPr>
              <a:t>CREDIT SUPPOR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AFB6E8B-74EC-AD80-D697-AFA634AE1BCF}"/>
              </a:ext>
            </a:extLst>
          </p:cNvPr>
          <p:cNvSpPr txBox="1"/>
          <p:nvPr/>
        </p:nvSpPr>
        <p:spPr>
          <a:xfrm flipH="1">
            <a:off x="4293221" y="4771152"/>
            <a:ext cx="3088889" cy="307777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/>
            <a:r>
              <a:rPr b="1" dirty="0" lang="en-US" sz="1400">
                <a:latin charset="0" panose="020B0502020202020204" pitchFamily="34" typeface="Century Gothic"/>
              </a:rPr>
              <a:t>B LOAN LENDERS</a:t>
            </a:r>
          </a:p>
        </p:txBody>
      </p:sp>
      <p:pic>
        <p:nvPicPr>
          <p:cNvPr descr="Text&#10;&#10;Description automatically generated with medium confidence" id="28" name="Picture 27">
            <a:extLst>
              <a:ext uri="{FF2B5EF4-FFF2-40B4-BE49-F238E27FC236}">
                <a16:creationId xmlns:a16="http://schemas.microsoft.com/office/drawing/2014/main" id="{19FD0360-DDD2-B955-FC64-266AC8B0A4F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56363" y="5082348"/>
            <a:ext cx="728654" cy="728654"/>
          </a:xfrm>
          <a:prstGeom prst="rect">
            <a:avLst/>
          </a:prstGeom>
        </p:spPr>
      </p:pic>
      <p:pic>
        <p:nvPicPr>
          <p:cNvPr descr="Logo, company name&#10;&#10;Description automatically generated" id="30" name="Picture 29">
            <a:extLst>
              <a:ext uri="{FF2B5EF4-FFF2-40B4-BE49-F238E27FC236}">
                <a16:creationId xmlns:a16="http://schemas.microsoft.com/office/drawing/2014/main" id="{9C05DB2C-7B1C-587D-F0D0-801A227469D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b="231" r="-26"/>
          <a:stretch/>
        </p:blipFill>
        <p:spPr>
          <a:xfrm>
            <a:off x="8548560" y="3626876"/>
            <a:ext cx="2013573" cy="1167936"/>
          </a:xfrm>
          <a:prstGeom prst="rect">
            <a:avLst/>
          </a:prstGeom>
        </p:spPr>
      </p:pic>
      <p:pic>
        <p:nvPicPr>
          <p:cNvPr descr="Logo, company name&#10;&#10;Description automatically generated" id="31" name="Picture 30">
            <a:extLst>
              <a:ext uri="{FF2B5EF4-FFF2-40B4-BE49-F238E27FC236}">
                <a16:creationId xmlns:a16="http://schemas.microsoft.com/office/drawing/2014/main" id="{553A6304-9136-4CBC-903F-B535DD201A4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89857" y="6314604"/>
            <a:ext cx="750022" cy="53044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4EA60A3F-F07A-496E-9126-F7136B98C05A}"/>
              </a:ext>
            </a:extLst>
          </p:cNvPr>
          <p:cNvSpPr txBox="1"/>
          <p:nvPr/>
        </p:nvSpPr>
        <p:spPr>
          <a:xfrm>
            <a:off x="1140542" y="6558487"/>
            <a:ext cx="3180679" cy="369332"/>
          </a:xfrm>
          <a:prstGeom prst="rect">
            <a:avLst/>
          </a:prstGeom>
          <a:noFill/>
        </p:spPr>
        <p:txBody>
          <a:bodyPr rtlCol="0" wrap="none">
            <a:spAutoFit/>
          </a:bodyPr>
          <a:lstStyle>
            <a:defPPr lvl="0">
              <a:defRPr lang="en-US"/>
            </a:defPPr>
            <a:lvl1pPr>
              <a:defRPr b="1"/>
            </a:lvl1pPr>
          </a:lstStyle>
          <a:p>
            <a:r>
              <a:rPr lang="en-US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2234434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65" imgH="565" progId="TCLayout.ActiveDocument.1">
                  <p:embed/>
                </p:oleObj>
              </mc:Choice>
              <mc:Fallback>
                <p:oleObj name="think-cell Slide" r:id="rId5" imgW="565" imgH="56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429B30-66D0-4A09-A207-05072A2BA391}"/>
              </a:ext>
            </a:extLst>
          </p:cNvPr>
          <p:cNvSpPr/>
          <p:nvPr/>
        </p:nvSpPr>
        <p:spPr>
          <a:xfrm>
            <a:off x="8403771" y="222525"/>
            <a:ext cx="3788229" cy="655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99D89E-AAAD-422F-841E-36F7C22E3348}"/>
              </a:ext>
            </a:extLst>
          </p:cNvPr>
          <p:cNvGrpSpPr/>
          <p:nvPr/>
        </p:nvGrpSpPr>
        <p:grpSpPr>
          <a:xfrm>
            <a:off x="489857" y="6321674"/>
            <a:ext cx="11232000" cy="36000"/>
            <a:chOff x="675616" y="6487884"/>
            <a:chExt cx="11088000" cy="3600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4F549FE-2087-4E79-905B-56013EE7CF2F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rect">
              <a:avLst/>
            </a:prstGeom>
            <a:solidFill>
              <a:srgbClr val="F99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lowchart: Data 38">
              <a:extLst>
                <a:ext uri="{FF2B5EF4-FFF2-40B4-BE49-F238E27FC236}">
                  <a16:creationId xmlns:a16="http://schemas.microsoft.com/office/drawing/2014/main" id="{976207C3-A9B6-4547-84FA-2B6A6CDD83B0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flowChartInputOutp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49F7AED6-0596-41F4-9FF2-127B81E4AB5B}"/>
              </a:ext>
            </a:extLst>
          </p:cNvPr>
          <p:cNvSpPr/>
          <p:nvPr/>
        </p:nvSpPr>
        <p:spPr>
          <a:xfrm>
            <a:off x="507857" y="1034143"/>
            <a:ext cx="11196000" cy="18000"/>
          </a:xfrm>
          <a:prstGeom prst="rect">
            <a:avLst/>
          </a:prstGeom>
          <a:solidFill>
            <a:srgbClr val="858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2E3EEA0F-3C9A-422B-B52F-560990615401}"/>
              </a:ext>
            </a:extLst>
          </p:cNvPr>
          <p:cNvSpPr txBox="1">
            <a:spLocks/>
          </p:cNvSpPr>
          <p:nvPr/>
        </p:nvSpPr>
        <p:spPr>
          <a:xfrm>
            <a:off x="422750" y="251072"/>
            <a:ext cx="11268575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ZA" sz="3200" b="1" dirty="0">
                <a:solidFill>
                  <a:srgbClr val="F7930D"/>
                </a:solidFill>
                <a:latin typeface="Century Gothic" panose="020B0502020202020204" pitchFamily="34" charset="0"/>
              </a:rPr>
              <a:t>V. What We Are Working Towards</a:t>
            </a: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3CF05B7B-457E-4D49-8453-3D70A0A600D5}"/>
              </a:ext>
            </a:extLst>
          </p:cNvPr>
          <p:cNvSpPr txBox="1">
            <a:spLocks/>
          </p:cNvSpPr>
          <p:nvPr/>
        </p:nvSpPr>
        <p:spPr>
          <a:xfrm>
            <a:off x="8978657" y="6361662"/>
            <a:ext cx="2743200" cy="2916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339CB-FA7A-4C6F-81A5-92ACFE46A00A}" type="slidenum">
              <a:rPr kumimoji="0" lang="en-ZA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EFFBDCD4-C67C-4310-8746-0FB1B314BF80}"/>
              </a:ext>
            </a:extLst>
          </p:cNvPr>
          <p:cNvSpPr/>
          <p:nvPr/>
        </p:nvSpPr>
        <p:spPr>
          <a:xfrm rot="10800000" flipH="1">
            <a:off x="0" y="0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864D4107-DBCE-4BB4-A426-3ED65FAF1C2F}"/>
              </a:ext>
            </a:extLst>
          </p:cNvPr>
          <p:cNvSpPr/>
          <p:nvPr/>
        </p:nvSpPr>
        <p:spPr>
          <a:xfrm flipH="1">
            <a:off x="11691325" y="6373148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52143"/>
            <a:ext cx="12192000" cy="515012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AE5023C7-FF44-46DB-A25B-790D58DF314A}"/>
              </a:ext>
            </a:extLst>
          </p:cNvPr>
          <p:cNvSpPr txBox="1">
            <a:spLocks/>
          </p:cNvSpPr>
          <p:nvPr/>
        </p:nvSpPr>
        <p:spPr>
          <a:xfrm>
            <a:off x="422750" y="60096"/>
            <a:ext cx="9115425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endParaRPr lang="en-ZA" sz="1400" i="1">
              <a:solidFill>
                <a:srgbClr val="FF76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C1EAC13D-56D4-462F-9414-000F0780D9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857" y="6245780"/>
            <a:ext cx="750022" cy="530446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140542" y="6381511"/>
            <a:ext cx="3180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lvl="0">
              <a:defRPr lang="en-US"/>
            </a:defPPr>
            <a:lvl1pPr>
              <a:defRPr b="1"/>
            </a:lvl1pPr>
          </a:lstStyle>
          <a:p>
            <a:r>
              <a:rPr lang="en-US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28223734"/>
      </p:ext>
    </p:extLst>
  </p:cSld>
  <p:clrMapOvr>
    <a:masterClrMapping/>
  </p:clrMapOvr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Gray Transmission Line Under Blue Sky at Daytime" id="30" name="Picture 4">
            <a:extLst>
              <a:ext uri="{FF2B5EF4-FFF2-40B4-BE49-F238E27FC236}">
                <a16:creationId xmlns:a16="http://schemas.microsoft.com/office/drawing/2014/main" id="{8E791308-9EE4-44D4-868C-5EA4E23200A2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201" y="1297459"/>
            <a:ext cx="3215574" cy="334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BDA4F6B-76FC-413A-A2D5-AE02A2D5D8AC}"/>
              </a:ext>
            </a:extLst>
          </p:cNvPr>
          <p:cNvSpPr/>
          <p:nvPr/>
        </p:nvSpPr>
        <p:spPr>
          <a:xfrm>
            <a:off x="8577350" y="1295738"/>
            <a:ext cx="3215574" cy="1118913"/>
          </a:xfrm>
          <a:prstGeom prst="rect">
            <a:avLst/>
          </a:prstGeom>
          <a:solidFill>
            <a:srgbClr val="62789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rtlCol="0" tIns="396000"/>
          <a:lstStyle/>
          <a:p>
            <a:pPr algn="ctr">
              <a:defRPr/>
            </a:pPr>
            <a:r>
              <a:rPr b="1" baseline="0" cap="none" dirty="0" i="0" kern="1200" kumimoji="0" lang="de-CH" noProof="0" normalizeH="0" spc="0" strike="noStrike" sz="22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Temane Transmission Project</a:t>
            </a:r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6E12095D-B25E-4A25-AB8F-D54ED69FFD05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5"/>
          <a:stretch/>
        </p:blipFill>
        <p:spPr bwMode="auto">
          <a:xfrm>
            <a:off x="500675" y="1243882"/>
            <a:ext cx="3735682" cy="342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7487954-88C0-4ABB-9C6D-ED9EFDDCA635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>
            <a:off x="10655300" y="3249359"/>
            <a:ext cx="0" cy="247650"/>
          </a:xfrm>
          <a:prstGeom prst="line">
            <a:avLst/>
          </a:prstGeom>
          <a:ln algn="ctr" cap="flat" cmpd="sng" w="12700">
            <a:solidFill>
              <a:schemeClr val="tx1"/>
            </a:solidFill>
            <a:prstDash val="solid"/>
            <a:miter lim="800000"/>
            <a:headEnd len="med" type="none" w="med"/>
            <a:tailEnd len="med" type="triangle" w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257752BB-54E6-4259-8AB1-E42F98F0F901}"/>
              </a:ext>
            </a:extLst>
          </p:cNvPr>
          <p:cNvSpPr txBox="1"/>
          <p:nvPr/>
        </p:nvSpPr>
        <p:spPr>
          <a:xfrm>
            <a:off x="729673" y="245586"/>
            <a:ext cx="94156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b="1" dirty="0" lang="pt-BR" sz="2200">
                <a:solidFill>
                  <a:schemeClr val="accent2"/>
                </a:solidFill>
                <a:latin charset="0" panose="020B0502020202020204" pitchFamily="34" typeface="Century Gothic"/>
              </a:rPr>
              <a:t>VI. CTT - </a:t>
            </a:r>
            <a:r>
              <a:rPr b="1" dirty="0" lang="en-GB" sz="2200">
                <a:solidFill>
                  <a:schemeClr val="accent2"/>
                </a:solidFill>
                <a:latin charset="0" panose="020B0502020202020204" pitchFamily="34" typeface="Century Gothic"/>
              </a:rPr>
              <a:t>INFRASTRUCTURE SYNERGIES INVOLVED IN THE PROJECT</a:t>
            </a:r>
          </a:p>
        </p:txBody>
      </p:sp>
      <mc:AlternateContent xmlns:mc="http://schemas.openxmlformats.org/markup-compatibility/2006" xmlns:aink="http://schemas.microsoft.com/office/drawing/2016/ink" xmlns:p14="http://schemas.microsoft.com/office/powerpoint/2010/main">
        <mc:Choice Requires="p14 aink">
          <p:contentPart p14:bwMode="auto" r:id="rId7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5F68DADB-2778-4976-93BB-B371338D2473}"/>
                  </a:ext>
                </a:extLst>
              </p14:cNvPr>
              <p14:cNvContentPartPr/>
              <p14:nvPr/>
            </p14:nvContentPartPr>
            <p14:xfrm>
              <a:off x="2311499" y="2084922"/>
              <a:ext cx="360" cy="36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5F68DADB-2778-4976-93BB-B371338D2473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2293499" y="1976922"/>
                <a:ext cx="36000" cy="216000"/>
              </a:xfrm>
              <a:prstGeom prst="rect">
                <a:avLst/>
              </a:prstGeom>
            </p:spPr>
          </p:pic>
        </mc:Fallback>
      </mc:AlternateContent>
      <p:pic>
        <p:nvPicPr>
          <p:cNvPr id="36" name="Image 2">
            <a:extLst>
              <a:ext uri="{FF2B5EF4-FFF2-40B4-BE49-F238E27FC236}">
                <a16:creationId xmlns:a16="http://schemas.microsoft.com/office/drawing/2014/main" id="{6687BC58-7BB7-41B0-BD15-161F3279C61A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30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44"/>
          <a:stretch/>
        </p:blipFill>
        <p:spPr>
          <a:xfrm>
            <a:off x="4552021" y="1269145"/>
            <a:ext cx="3735682" cy="340269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1467DB7D-2B28-4CB0-99E3-A4AA4FF0DE03}"/>
              </a:ext>
            </a:extLst>
          </p:cNvPr>
          <p:cNvSpPr/>
          <p:nvPr/>
        </p:nvSpPr>
        <p:spPr>
          <a:xfrm>
            <a:off x="4542785" y="1243882"/>
            <a:ext cx="3735682" cy="1170769"/>
          </a:xfrm>
          <a:prstGeom prst="rect">
            <a:avLst/>
          </a:prstGeom>
          <a:solidFill>
            <a:schemeClr val="accent2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rtlCol="0" tIns="39600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de-CH" noProof="0" normalizeH="0" spc="0" strike="noStrike" sz="24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Temane Power Project</a:t>
            </a:r>
          </a:p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de-CH" noProof="0" normalizeH="0" spc="0" strike="noStrike" sz="24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42332B6-60BF-4FBE-87F0-3A93E7CD43B8}"/>
              </a:ext>
            </a:extLst>
          </p:cNvPr>
          <p:cNvSpPr txBox="1"/>
          <p:nvPr/>
        </p:nvSpPr>
        <p:spPr>
          <a:xfrm>
            <a:off x="917475" y="4934972"/>
            <a:ext cx="10572561" cy="1025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eaLnBrk="1" fontAlgn="auto" hangingPunct="1" latinLnBrk="0" lvl="0" marR="0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tabLst/>
              <a:defRPr/>
            </a:pPr>
            <a:r>
              <a:rPr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CTT </a:t>
            </a:r>
            <a:r>
              <a:rPr b="1"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anchors</a:t>
            </a:r>
            <a:r>
              <a:rPr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 the establishment of </a:t>
            </a:r>
            <a:r>
              <a:rPr b="1"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US$ 1.5 Bn</a:t>
            </a:r>
            <a:r>
              <a:rPr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 + </a:t>
            </a:r>
            <a:r>
              <a:rPr b="1"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value chain </a:t>
            </a:r>
            <a:r>
              <a:rPr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by:</a:t>
            </a:r>
          </a:p>
          <a:p>
            <a:pPr defTabSz="914400" eaLnBrk="1" fontAlgn="auto" hangingPunct="1" indent="-285750" latinLnBrk="0" lvl="0" marL="285750" marR="0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charset="0" panose="020B0604020202020204" pitchFamily="34" typeface="Arial"/>
              <a:buChar char="•"/>
              <a:tabLst/>
              <a:defRPr/>
            </a:pPr>
            <a:r>
              <a:rPr dirty="0" lang="en-ZA">
                <a:solidFill>
                  <a:prstClr val="black"/>
                </a:solidFill>
                <a:latin charset="0" panose="020B0502020202020204" pitchFamily="34" typeface="Century Gothic"/>
                <a:ea charset="0" panose="02020603050405020304" pitchFamily="18" typeface="Times New Roman"/>
                <a:cs charset="0" panose="02020603050405020304" pitchFamily="18" typeface="Times New Roman"/>
              </a:rPr>
              <a:t>Gas development monetisation</a:t>
            </a:r>
          </a:p>
          <a:p>
            <a:pPr defTabSz="914400" eaLnBrk="1" fontAlgn="auto" hangingPunct="1" indent="-285750" latinLnBrk="0" lvl="0" marL="285750" marR="0" rtl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7930D"/>
              </a:buClr>
              <a:buSzTx/>
              <a:buFont charset="0" panose="020B0604020202020204" pitchFamily="34" typeface="Arial"/>
              <a:buChar char="•"/>
              <a:tabLst/>
              <a:defRPr/>
            </a:pPr>
            <a:r>
              <a:rPr baseline="0" cap="none" dirty="0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F0502020204030204" pitchFamily="34" typeface="Calibri"/>
                <a:cs charset="0" panose="02020603050405020304" pitchFamily="18" typeface="Times New Roman"/>
              </a:rPr>
              <a:t>Electricity </a:t>
            </a:r>
            <a:r>
              <a:rPr baseline="0" cap="none" dirty="0" err="1" i="0" kern="1200" kumimoji="0" lang="en-ZA" noProof="0" normalizeH="0" spc="0" strike="noStrike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charset="0" panose="020F0502020204030204" pitchFamily="34" typeface="Calibri"/>
                <a:cs charset="0" panose="02020603050405020304" pitchFamily="18" typeface="Times New Roman"/>
              </a:rPr>
              <a:t>tra</a:t>
            </a:r>
            <a:r>
              <a:rPr dirty="0" err="1" lang="en-ZA">
                <a:solidFill>
                  <a:prstClr val="black"/>
                </a:solidFill>
                <a:latin charset="0" panose="020B0502020202020204" pitchFamily="34" typeface="Century Gothic"/>
                <a:ea charset="0" panose="020F0502020204030204" pitchFamily="34" typeface="Calibri"/>
                <a:cs charset="0" panose="02020603050405020304" pitchFamily="18" typeface="Times New Roman"/>
              </a:rPr>
              <a:t>nsmission</a:t>
            </a:r>
            <a:endParaRPr baseline="0" cap="none" dirty="0" i="0" kern="1200" kumimoji="0" lang="en-ZA" noProof="0" normalizeH="0" spc="0" strike="noStrike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charset="0" panose="020B0502020202020204" pitchFamily="34" typeface="Century Gothic"/>
              <a:ea charset="0" panose="020F0502020204030204" pitchFamily="34" typeface="Calibri"/>
              <a:cs charset="0" panose="02020603050405020304" pitchFamily="18" typeface="Times New Roman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0DF3BFB8-0298-475B-9230-2A4C04E82B97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85"/>
          <a:stretch/>
        </p:blipFill>
        <p:spPr bwMode="auto">
          <a:xfrm>
            <a:off x="729673" y="1249732"/>
            <a:ext cx="3515920" cy="342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AE46EE15-87CD-4114-87DF-05EBE2FF3845}"/>
              </a:ext>
            </a:extLst>
          </p:cNvPr>
          <p:cNvSpPr/>
          <p:nvPr/>
        </p:nvSpPr>
        <p:spPr>
          <a:xfrm>
            <a:off x="487856" y="1249731"/>
            <a:ext cx="3757737" cy="1164919"/>
          </a:xfrm>
          <a:prstGeom prst="rect">
            <a:avLst/>
          </a:prstGeom>
          <a:solidFill>
            <a:srgbClr val="62789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rtlCol="0" tIns="39600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de-CH" noProof="0" normalizeH="0" spc="0" strike="noStrike" sz="24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Gas Field Development</a:t>
            </a:r>
          </a:p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de-CH" noProof="0" normalizeH="0" spc="0" strike="noStrike" sz="24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61690C-1550-4A90-B462-88FEF2127435}"/>
              </a:ext>
            </a:extLst>
          </p:cNvPr>
          <p:cNvGrpSpPr/>
          <p:nvPr/>
        </p:nvGrpSpPr>
        <p:grpSpPr>
          <a:xfrm>
            <a:off x="489857" y="6321674"/>
            <a:ext cx="11232000" cy="36000"/>
            <a:chOff x="675616" y="6487884"/>
            <a:chExt cx="11088000" cy="36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F5D7D5A-457C-4B0E-BB0B-30177691AAFC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rect">
              <a:avLst/>
            </a:prstGeom>
            <a:solidFill>
              <a:srgbClr val="F99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b="0" baseline="0" cap="none" dirty="0" i="0" kern="1200" kumimoji="0" lang="en-ZA" noProof="0" normalizeH="0" spc="0" strike="noStrike" sz="18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panose="020F0502020204030204" typeface="Calibri"/>
                <a:ea typeface="+mn-ea"/>
                <a:cs typeface="+mn-cs"/>
              </a:endParaRPr>
            </a:p>
          </p:txBody>
        </p:sp>
        <p:sp>
          <p:nvSpPr>
            <p:cNvPr id="15" name="Flowchart: Data 14">
              <a:extLst>
                <a:ext uri="{FF2B5EF4-FFF2-40B4-BE49-F238E27FC236}">
                  <a16:creationId xmlns:a16="http://schemas.microsoft.com/office/drawing/2014/main" id="{3EA76EC2-09A5-41DB-B5E2-7D2CE3D9C5C7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flowChartInputOutp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b="0" baseline="0" cap="none" dirty="0" i="0" kern="1200" kumimoji="0" lang="en-ZA" noProof="0" normalizeH="0" spc="0" strike="noStrike" sz="1800" u="none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panose="020F0502020204030204" typeface="Calibri"/>
                <a:ea typeface="+mn-ea"/>
                <a:cs typeface="+mn-cs"/>
              </a:endParaRPr>
            </a:p>
          </p:txBody>
        </p:sp>
      </p:grp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9C8496F-C6AE-4AA7-90AC-1BED296B6112}"/>
              </a:ext>
            </a:extLst>
          </p:cNvPr>
          <p:cNvSpPr txBox="1">
            <a:spLocks/>
          </p:cNvSpPr>
          <p:nvPr/>
        </p:nvSpPr>
        <p:spPr>
          <a:xfrm>
            <a:off x="9016862" y="6365191"/>
            <a:ext cx="2743200" cy="2916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914400" eaLnBrk="1" hangingPunct="1" latinLnBrk="0" marL="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eaLnBrk="1" hangingPunct="1" latinLnBrk="0" marL="457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914400" eaLnBrk="1" hangingPunct="1" latinLnBrk="0" marL="914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914400" eaLnBrk="1" hangingPunct="1" latinLnBrk="0" marL="1371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914400" eaLnBrk="1" hangingPunct="1" latinLnBrk="0" marL="18288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914400" eaLnBrk="1" hangingPunct="1" latinLnBrk="0" marL="22860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914400" eaLnBrk="1" hangingPunct="1" latinLnBrk="0" marL="27432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914400" eaLnBrk="1" hangingPunct="1" latinLnBrk="0" marL="32004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914400" eaLnBrk="1" hangingPunct="1" latinLnBrk="0" marL="3657600" rtl="0"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339CB-FA7A-4C6F-81A5-92ACFE46A00A}" type="slidenum">
              <a:rPr b="1" baseline="0" cap="none" i="0" kern="1200" kumimoji="0" lang="en-ZA" noProof="0" normalizeH="0" smtClean="0" spc="0" strike="noStrike" sz="1000" u="none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charset="0" panose="020B0502020202020204" pitchFamily="34" typeface="Century Gothic"/>
                <a:ea charset="0" panose="020B0604030504040204" pitchFamily="34" typeface="Verdana"/>
                <a:cs charset="0" panose="020B0604020202020204" pitchFamily="34" typeface="Arial"/>
              </a:rPr>
              <a:pPr algn="r" defTabSz="914400" eaLnBrk="1" fontAlgn="auto" hangingPunct="1" indent="0" latinLnBrk="0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b="1" baseline="0" cap="none" dirty="0" i="0" kern="1200" kumimoji="0" lang="en-ZA" noProof="0" normalizeH="0" spc="0" strike="noStrike" sz="1000" u="none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charset="0" panose="020B0502020202020204" pitchFamily="34" typeface="Century Gothic"/>
              <a:ea charset="0" panose="020B0604030504040204" pitchFamily="34" typeface="Verdana"/>
              <a:cs charset="0" panose="020B0604020202020204" pitchFamily="34" typeface="Arial"/>
            </a:endParaRPr>
          </a:p>
        </p:txBody>
      </p:sp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7513B5C6-A59E-493B-8CD1-55C5A6F9C40D}"/>
              </a:ext>
            </a:extLst>
          </p:cNvPr>
          <p:cNvSpPr/>
          <p:nvPr/>
        </p:nvSpPr>
        <p:spPr>
          <a:xfrm flipH="1">
            <a:off x="11691325" y="6373148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0" baseline="0" cap="none" dirty="0" i="0" kern="1200" kumimoji="0" lang="en-ZA" noProof="0" normalizeH="0" spc="0" strike="noStrike" sz="1800" u="none">
              <a:ln>
                <a:noFill/>
              </a:ln>
              <a:solidFill>
                <a:prstClr val="white"/>
              </a:solidFill>
              <a:effectLst/>
              <a:uLnTx/>
              <a:uFillTx/>
              <a:latin panose="020F0502020204030204" typeface="Calibr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4DE294-141E-425F-904F-8C688C723DC7}"/>
              </a:ext>
            </a:extLst>
          </p:cNvPr>
          <p:cNvSpPr/>
          <p:nvPr/>
        </p:nvSpPr>
        <p:spPr>
          <a:xfrm>
            <a:off x="749299" y="3760984"/>
            <a:ext cx="3234850" cy="91085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en-US" noProof="0" normalizeH="0" spc="0" strike="noStrike" sz="14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$7</a:t>
            </a:r>
            <a:r>
              <a:rPr b="1" dirty="0" lang="en-US" sz="1400">
                <a:solidFill>
                  <a:prstClr val="black"/>
                </a:solidFill>
                <a:latin charset="0" panose="020B0502020202020204" pitchFamily="34" typeface="Century Gothic"/>
              </a:rPr>
              <a:t>60 m</a:t>
            </a:r>
            <a:r>
              <a:rPr b="1" baseline="0" cap="none" dirty="0" i="0" kern="1200" kumimoji="0" lang="en-US" noProof="0" normalizeH="0" spc="0" strike="noStrike" sz="14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 in upstream gas infrastructure investment</a:t>
            </a:r>
            <a:endParaRPr b="0" baseline="0" cap="none" dirty="0" i="0" kern="1200" kumimoji="0" lang="en-ZA" noProof="0" normalizeH="0" spc="0" strike="noStrike" sz="14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1BFCDD-0458-4530-AF38-F1E195784ED4}"/>
              </a:ext>
            </a:extLst>
          </p:cNvPr>
          <p:cNvSpPr/>
          <p:nvPr/>
        </p:nvSpPr>
        <p:spPr>
          <a:xfrm>
            <a:off x="4793201" y="3758667"/>
            <a:ext cx="3234850" cy="91085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en-US" noProof="0" normalizeH="0" spc="0" strike="noStrike" sz="14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$</a:t>
            </a:r>
            <a:r>
              <a:rPr b="1" dirty="0" lang="en-US" sz="1400">
                <a:solidFill>
                  <a:prstClr val="black"/>
                </a:solidFill>
                <a:latin charset="0" panose="020B0502020202020204" pitchFamily="34" typeface="Century Gothic"/>
              </a:rPr>
              <a:t>650 m</a:t>
            </a:r>
            <a:r>
              <a:rPr b="1" baseline="0" cap="none" dirty="0" i="0" kern="1200" kumimoji="0" lang="en-US" noProof="0" normalizeH="0" spc="0" strike="noStrike" sz="14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 in infrastructure investment</a:t>
            </a:r>
            <a:endParaRPr b="0" baseline="0" cap="none" dirty="0" i="0" kern="1200" kumimoji="0" lang="en-ZA" noProof="0" normalizeH="0" spc="0" strike="noStrike" sz="14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1E48D7-B09C-4ED4-AEA8-3080C89888E8}"/>
              </a:ext>
            </a:extLst>
          </p:cNvPr>
          <p:cNvSpPr/>
          <p:nvPr/>
        </p:nvSpPr>
        <p:spPr>
          <a:xfrm>
            <a:off x="8594131" y="3724118"/>
            <a:ext cx="3234850" cy="91085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en-US" noProof="0" normalizeH="0" spc="0" strike="noStrike" sz="14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$3</a:t>
            </a:r>
            <a:r>
              <a:rPr b="1" dirty="0" lang="en-US" sz="1400">
                <a:solidFill>
                  <a:prstClr val="black"/>
                </a:solidFill>
                <a:latin charset="0" panose="020B0502020202020204" pitchFamily="34" typeface="Century Gothic"/>
              </a:rPr>
              <a:t>50 m</a:t>
            </a:r>
            <a:r>
              <a:rPr b="1" baseline="0" cap="none" dirty="0" i="0" kern="1200" kumimoji="0" lang="en-US" noProof="0" normalizeH="0" spc="0" strike="noStrike" sz="14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charset="0" panose="020B0502020202020204" pitchFamily="34" typeface="Century Gothic"/>
                <a:ea typeface="+mn-ea"/>
                <a:cs typeface="+mn-cs"/>
              </a:rPr>
              <a:t> transmission line investment</a:t>
            </a:r>
            <a:endParaRPr b="0" baseline="0" cap="none" dirty="0" i="0" kern="1200" kumimoji="0" lang="en-ZA" noProof="0" normalizeH="0" spc="0" strike="noStrike" sz="14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charset="0" panose="020B0502020202020204" pitchFamily="34" typeface="Century Gothic"/>
              <a:ea typeface="+mn-ea"/>
              <a:cs typeface="+mn-cs"/>
            </a:endParaRPr>
          </a:p>
        </p:txBody>
      </p:sp>
      <p:pic>
        <p:nvPicPr>
          <p:cNvPr descr="Logo, company name&#10;&#10;Description automatically generated" id="22" name="Picture 21">
            <a:extLst>
              <a:ext uri="{FF2B5EF4-FFF2-40B4-BE49-F238E27FC236}">
                <a16:creationId xmlns:a16="http://schemas.microsoft.com/office/drawing/2014/main" id="{BFC08B87-4066-4F91-9340-103A04F1A772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89857" y="6314604"/>
            <a:ext cx="750022" cy="53044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64D2D69-CBF7-406B-9429-0396DAD986A0}"/>
              </a:ext>
            </a:extLst>
          </p:cNvPr>
          <p:cNvSpPr txBox="1"/>
          <p:nvPr/>
        </p:nvSpPr>
        <p:spPr>
          <a:xfrm>
            <a:off x="1140542" y="6558487"/>
            <a:ext cx="3180679" cy="369332"/>
          </a:xfrm>
          <a:prstGeom prst="rect">
            <a:avLst/>
          </a:prstGeom>
          <a:noFill/>
        </p:spPr>
        <p:txBody>
          <a:bodyPr rtlCol="0" wrap="none">
            <a:spAutoFit/>
          </a:bodyPr>
          <a:lstStyle>
            <a:defPPr lvl="0">
              <a:defRPr lang="en-US"/>
            </a:defPPr>
            <a:lvl1pPr>
              <a:defRPr b="1"/>
            </a:lvl1pPr>
          </a:lstStyle>
          <a:p>
            <a:r>
              <a:rPr lang="en-US"/>
              <a:t>CENTRAL TÉRMICA DE TEMANE</a:t>
            </a:r>
          </a:p>
        </p:txBody>
      </p:sp>
    </p:spTree>
    <p:extLst>
      <p:ext uri="{BB962C8B-B14F-4D97-AF65-F5344CB8AC3E}">
        <p14:creationId xmlns:p14="http://schemas.microsoft.com/office/powerpoint/2010/main" val="34666234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A42BBC-5548-4A48-B35E-DF4BEBAE14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65" imgH="565" progId="TCLayout.ActiveDocument.1">
                  <p:embed/>
                </p:oleObj>
              </mc:Choice>
              <mc:Fallback>
                <p:oleObj name="think-cell Slide" r:id="rId5" imgW="565" imgH="56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A42BBC-5548-4A48-B35E-DF4BEBAE1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6D0FE6C-E768-4DA6-BE31-5A266897836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429B30-66D0-4A09-A207-05072A2BA391}"/>
              </a:ext>
            </a:extLst>
          </p:cNvPr>
          <p:cNvSpPr/>
          <p:nvPr/>
        </p:nvSpPr>
        <p:spPr>
          <a:xfrm>
            <a:off x="8403771" y="260103"/>
            <a:ext cx="3788229" cy="655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Slide Number Placeholder 1">
            <a:extLst>
              <a:ext uri="{FF2B5EF4-FFF2-40B4-BE49-F238E27FC236}">
                <a16:creationId xmlns:a16="http://schemas.microsoft.com/office/drawing/2014/main" id="{3CF05B7B-457E-4D49-8453-3D70A0A600D5}"/>
              </a:ext>
            </a:extLst>
          </p:cNvPr>
          <p:cNvSpPr txBox="1">
            <a:spLocks/>
          </p:cNvSpPr>
          <p:nvPr/>
        </p:nvSpPr>
        <p:spPr>
          <a:xfrm>
            <a:off x="9016862" y="6528771"/>
            <a:ext cx="2743200" cy="2916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6339CB-FA7A-4C6F-81A5-92ACFE46A00A}" type="slidenum">
              <a:rPr kumimoji="0" lang="en-ZA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EFFBDCD4-C67C-4310-8746-0FB1B314BF80}"/>
              </a:ext>
            </a:extLst>
          </p:cNvPr>
          <p:cNvSpPr/>
          <p:nvPr/>
        </p:nvSpPr>
        <p:spPr>
          <a:xfrm rot="10800000" flipH="1">
            <a:off x="0" y="0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864D4107-DBCE-4BB4-A426-3ED65FAF1C2F}"/>
              </a:ext>
            </a:extLst>
          </p:cNvPr>
          <p:cNvSpPr/>
          <p:nvPr/>
        </p:nvSpPr>
        <p:spPr>
          <a:xfrm flipH="1">
            <a:off x="11691325" y="6373148"/>
            <a:ext cx="515938" cy="500326"/>
          </a:xfrm>
          <a:prstGeom prst="rtTriangle">
            <a:avLst/>
          </a:prstGeom>
          <a:solidFill>
            <a:srgbClr val="F79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200D8D-713D-439B-B17B-2E1E4D20253C}"/>
              </a:ext>
            </a:extLst>
          </p:cNvPr>
          <p:cNvSpPr/>
          <p:nvPr/>
        </p:nvSpPr>
        <p:spPr>
          <a:xfrm>
            <a:off x="515938" y="1274407"/>
            <a:ext cx="11160124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B1214DC-6DCB-4A31-837E-8D4D4C303777}"/>
              </a:ext>
            </a:extLst>
          </p:cNvPr>
          <p:cNvGrpSpPr/>
          <p:nvPr/>
        </p:nvGrpSpPr>
        <p:grpSpPr>
          <a:xfrm>
            <a:off x="489857" y="6538576"/>
            <a:ext cx="11232000" cy="36000"/>
            <a:chOff x="675616" y="6487884"/>
            <a:chExt cx="11088000" cy="36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2662142-1AFF-4424-B5B7-6849A072FBD2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rect">
              <a:avLst/>
            </a:prstGeom>
            <a:solidFill>
              <a:srgbClr val="F994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lowchart: Data 17">
              <a:extLst>
                <a:ext uri="{FF2B5EF4-FFF2-40B4-BE49-F238E27FC236}">
                  <a16:creationId xmlns:a16="http://schemas.microsoft.com/office/drawing/2014/main" id="{7A1902BB-0F7F-4434-82C5-2BCC1232A1C5}"/>
                </a:ext>
              </a:extLst>
            </p:cNvPr>
            <p:cNvSpPr/>
            <p:nvPr/>
          </p:nvSpPr>
          <p:spPr>
            <a:xfrm>
              <a:off x="675616" y="6487884"/>
              <a:ext cx="11088000" cy="36000"/>
            </a:xfrm>
            <a:prstGeom prst="flowChartInputOutp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5EFB4B64-2EED-4CB2-B083-5D886BD8CAB1}"/>
              </a:ext>
            </a:extLst>
          </p:cNvPr>
          <p:cNvSpPr/>
          <p:nvPr/>
        </p:nvSpPr>
        <p:spPr>
          <a:xfrm>
            <a:off x="507857" y="926087"/>
            <a:ext cx="11196000" cy="18000"/>
          </a:xfrm>
          <a:prstGeom prst="rect">
            <a:avLst/>
          </a:prstGeom>
          <a:solidFill>
            <a:srgbClr val="8585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D4C69AC-0A16-4378-BC6D-DAC85A624C6D}"/>
              </a:ext>
            </a:extLst>
          </p:cNvPr>
          <p:cNvSpPr txBox="1">
            <a:spLocks/>
          </p:cNvSpPr>
          <p:nvPr/>
        </p:nvSpPr>
        <p:spPr>
          <a:xfrm>
            <a:off x="422750" y="329728"/>
            <a:ext cx="11299107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2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870F445-0D10-4AC8-A7F4-757CEEEE2572}"/>
              </a:ext>
            </a:extLst>
          </p:cNvPr>
          <p:cNvSpPr txBox="1">
            <a:spLocks/>
          </p:cNvSpPr>
          <p:nvPr/>
        </p:nvSpPr>
        <p:spPr>
          <a:xfrm>
            <a:off x="422750" y="60096"/>
            <a:ext cx="9115425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endParaRPr lang="en-ZA" sz="1400" i="1">
              <a:solidFill>
                <a:srgbClr val="FF76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C1EAC13D-56D4-462F-9414-000F0780D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9857" y="6314604"/>
            <a:ext cx="750022" cy="53044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140542" y="6558487"/>
            <a:ext cx="3180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lvl="0">
              <a:defRPr lang="en-US"/>
            </a:defPPr>
            <a:lvl1pPr>
              <a:defRPr b="1"/>
            </a:lvl1pPr>
          </a:lstStyle>
          <a:p>
            <a:r>
              <a:rPr lang="en-US"/>
              <a:t>CENTRAL TÉRMICA DE TEMANE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282DB7B-A896-407F-BC4E-4BF16981E7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61042" y="1124990"/>
            <a:ext cx="7815020" cy="518961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25DD2EA-7FBA-4361-9612-00670D40A117}"/>
              </a:ext>
            </a:extLst>
          </p:cNvPr>
          <p:cNvSpPr txBox="1"/>
          <p:nvPr/>
        </p:nvSpPr>
        <p:spPr>
          <a:xfrm>
            <a:off x="515939" y="1075814"/>
            <a:ext cx="5837728" cy="5299098"/>
          </a:xfrm>
          <a:prstGeom prst="rect">
            <a:avLst/>
          </a:prstGeom>
          <a:solidFill>
            <a:srgbClr val="FFFFFF">
              <a:alpha val="89804"/>
            </a:srgbClr>
          </a:solidFill>
        </p:spPr>
        <p:txBody>
          <a:bodyPr wrap="square" lIns="180000" tIns="180000" rIns="180000" bIns="180000" rtlCol="0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project will contribute to the creation of more than 700 jobs and the development of </a:t>
            </a:r>
            <a:r>
              <a:rPr lang="en-US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region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sz="180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TT 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 expected to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ctricity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meet the demand of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5 million household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 will 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ibute about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% 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the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ctricity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ly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apacity </a:t>
            </a:r>
            <a:r>
              <a:rPr lang="en-US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meet demand in 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zambique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project is </a:t>
            </a:r>
            <a:r>
              <a:rPr lang="en-US" sz="1800" b="1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is Agreement </a:t>
            </a: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will support Mozambique’s longer-term sustainable energy transition to net-zero by 2050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the country’s economic recovery and the region’s energy transition</a:t>
            </a:r>
            <a:endParaRPr lang="en-US" dirty="0">
              <a:solidFill>
                <a:srgbClr val="0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 supports  the industrialization program launched by the government of Mozambiqu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CD4C69AC-0A16-4378-BC6D-DAC85A624C6D}"/>
              </a:ext>
            </a:extLst>
          </p:cNvPr>
          <p:cNvSpPr txBox="1">
            <a:spLocks/>
          </p:cNvSpPr>
          <p:nvPr/>
        </p:nvSpPr>
        <p:spPr>
          <a:xfrm>
            <a:off x="498950" y="329728"/>
            <a:ext cx="11299107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200" b="1" dirty="0">
                <a:solidFill>
                  <a:srgbClr val="F7930D"/>
                </a:solidFill>
                <a:latin typeface="Century Gothic" panose="020B0502020202020204" pitchFamily="34" charset="0"/>
              </a:rPr>
              <a:t>VII. CTT Development Impact</a:t>
            </a:r>
          </a:p>
        </p:txBody>
      </p:sp>
    </p:spTree>
    <p:extLst>
      <p:ext uri="{BB962C8B-B14F-4D97-AF65-F5344CB8AC3E}">
        <p14:creationId xmlns:p14="http://schemas.microsoft.com/office/powerpoint/2010/main" val="1921338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K1COxufrTx7JIE4.8C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LiUWi7w8SNf9S4crF9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QWIXAbBtKni54vYJP0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JfDKR5M8oCrgLhdvuI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RJ08DSj0wCCeORnd77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kZIQyIRTurWUhMo.zN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ma7M14tRpj9jttSTx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RJ08DSj0wCCeORnd77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6GB7kxbuMMSDSiTm2ch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_Generic_Presentation.pptx" id="{65CF5C59-DF2E-414E-868C-3180CAB58EF0}" vid="{5856E97F-FE91-4FDF-B834-F13AF7F3F230}"/>
    </a:ext>
  </a:extLst>
</a:theme>
</file>

<file path=ppt/theme/theme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_Generic_Presentation.pptx" id="{65CF5C59-DF2E-414E-868C-3180CAB58EF0}" vid="{5856E97F-FE91-4FDF-B834-F13AF7F3F230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ad1c946-227f-456b-a52f-005e356255ac">
      <Terms xmlns="http://schemas.microsoft.com/office/infopath/2007/PartnerControls"/>
    </lcf76f155ced4ddcb4097134ff3c332f>
    <TaxCatchAll xmlns="d01e433a-3dff-4bfe-9b43-eca30fbe256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FA6F25C383F945BC7A542EABA0DCD0" ma:contentTypeVersion="16" ma:contentTypeDescription="Create a new document." ma:contentTypeScope="" ma:versionID="9b85952f303d83b82451f4bbe9d9ad92">
  <xsd:schema xmlns:xsd="http://www.w3.org/2001/XMLSchema" xmlns:xs="http://www.w3.org/2001/XMLSchema" xmlns:p="http://schemas.microsoft.com/office/2006/metadata/properties" xmlns:ns2="6ad1c946-227f-456b-a52f-005e356255ac" xmlns:ns3="d01e433a-3dff-4bfe-9b43-eca30fbe256c" targetNamespace="http://schemas.microsoft.com/office/2006/metadata/properties" ma:root="true" ma:fieldsID="18c331466bb06c2ca49c66b464efc3f1" ns2:_="" ns3:_="">
    <xsd:import namespace="6ad1c946-227f-456b-a52f-005e356255ac"/>
    <xsd:import namespace="d01e433a-3dff-4bfe-9b43-eca30fbe25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d1c946-227f-456b-a52f-005e356255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8d0f230-8c22-4e9e-affb-a464a7e9059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1e433a-3dff-4bfe-9b43-eca30fbe256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c492de6-2ff0-4ce1-83ac-e6b58917b8f1}" ma:internalName="TaxCatchAll" ma:showField="CatchAllData" ma:web="d01e433a-3dff-4bfe-9b43-eca30fbe25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D01D5B-D8D3-4742-A2F7-ADDB0B970EE1}">
  <ds:schemaRefs>
    <ds:schemaRef ds:uri="64b29d1e-d34f-47e5-9c41-661548a48a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C39F846-66DF-4E28-900A-694194A705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18C7EF-6B39-4D14-924B-611703AF58FF}"/>
</file>

<file path=docProps/app.xml><?xml version="1.0" encoding="utf-8"?>
<Properties xmlns="http://schemas.openxmlformats.org/officeDocument/2006/extended-properties" xmlns:vt="http://schemas.openxmlformats.org/officeDocument/2006/docPropsVTypes">
  <TotalTime>1370</TotalTime>
  <Words>835</Words>
  <Application>Microsoft Office PowerPoint</Application>
  <PresentationFormat>Widescreen</PresentationFormat>
  <Paragraphs>148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Calibri Light</vt:lpstr>
      <vt:lpstr>Century Gothic</vt:lpstr>
      <vt:lpstr>Palatino Linotype</vt:lpstr>
      <vt:lpstr>Symbol</vt:lpstr>
      <vt:lpstr>Wingdings</vt:lpstr>
      <vt:lpstr>1_Office Theme</vt:lpstr>
      <vt:lpstr>5_Office Theme</vt:lpstr>
      <vt:lpstr>4_Office Theme</vt:lpstr>
      <vt:lpstr>think-cell Slide</vt:lpstr>
      <vt:lpstr>PowerPoint Presentation</vt:lpstr>
      <vt:lpstr>PowerPoint Presentation</vt:lpstr>
      <vt:lpstr>I. GLOBELEQ – 20 YEARS OF OPERATION</vt:lpstr>
      <vt:lpstr>II. GLOBELEQ - OUR LOC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P</dc:creator>
  <cp:lastModifiedBy>Wilma Mondlane</cp:lastModifiedBy>
  <cp:revision>44</cp:revision>
  <dcterms:modified xsi:type="dcterms:W3CDTF">2022-09-14T15:2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A56560E1E06A244791FC926F2A361936</vt:lpwstr>
  </property>
  <property fmtid="{D5CDD505-2E9C-101B-9397-08002B2CF9AE}" name="NXPowerLiteLastOptimized" pid="3">
    <vt:lpwstr>2329253</vt:lpwstr>
  </property>
  <property fmtid="{D5CDD505-2E9C-101B-9397-08002B2CF9AE}" name="NXPowerLiteSettings" pid="4">
    <vt:lpwstr>F7000400038000</vt:lpwstr>
  </property>
  <property fmtid="{D5CDD505-2E9C-101B-9397-08002B2CF9AE}" name="NXPowerLiteVersion" pid="5">
    <vt:lpwstr>S9.1.4</vt:lpwstr>
  </property>
</Properties>
</file>